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notesSlides/notesSlide2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>
  <p:sldMasterIdLst>
    <p:sldMasterId id="2147483672" r:id="rId1"/>
  </p:sldMasterIdLst>
  <p:notesMasterIdLst>
    <p:notesMasterId r:id="rId52"/>
  </p:notesMasterIdLst>
  <p:sldIdLst>
    <p:sldId id="2134806652" r:id="rId2"/>
    <p:sldId id="2134806653" r:id="rId3"/>
    <p:sldId id="2134806654" r:id="rId4"/>
    <p:sldId id="2134806249" r:id="rId5"/>
    <p:sldId id="2134806655" r:id="rId6"/>
    <p:sldId id="2134806405" r:id="rId7"/>
    <p:sldId id="2134806406" r:id="rId8"/>
    <p:sldId id="2134806656" r:id="rId9"/>
    <p:sldId id="2134806400" r:id="rId10"/>
    <p:sldId id="2134806497" r:id="rId11"/>
    <p:sldId id="2134806570" r:id="rId12"/>
    <p:sldId id="2134806663" r:id="rId13"/>
    <p:sldId id="2134806664" r:id="rId14"/>
    <p:sldId id="2134806665" r:id="rId15"/>
    <p:sldId id="2134806666" r:id="rId16"/>
    <p:sldId id="2134806667" r:id="rId17"/>
    <p:sldId id="2134806668" r:id="rId18"/>
    <p:sldId id="2134806669" r:id="rId19"/>
    <p:sldId id="2134806657" r:id="rId20"/>
    <p:sldId id="2134806444" r:id="rId21"/>
    <p:sldId id="2134806671" r:id="rId22"/>
    <p:sldId id="2134806672" r:id="rId23"/>
    <p:sldId id="2134806670" r:id="rId24"/>
    <p:sldId id="2134806451" r:id="rId25"/>
    <p:sldId id="2134806673" r:id="rId26"/>
    <p:sldId id="2134806674" r:id="rId27"/>
    <p:sldId id="2134806675" r:id="rId28"/>
    <p:sldId id="2134806676" r:id="rId29"/>
    <p:sldId id="2134806677" r:id="rId30"/>
    <p:sldId id="2134806678" r:id="rId31"/>
    <p:sldId id="2134806679" r:id="rId32"/>
    <p:sldId id="2134806683" r:id="rId33"/>
    <p:sldId id="2134806684" r:id="rId34"/>
    <p:sldId id="2134806681" r:id="rId35"/>
    <p:sldId id="2134806682" r:id="rId36"/>
    <p:sldId id="2134806685" r:id="rId37"/>
    <p:sldId id="2134806686" r:id="rId38"/>
    <p:sldId id="2134806689" r:id="rId39"/>
    <p:sldId id="2134806690" r:id="rId40"/>
    <p:sldId id="2134806691" r:id="rId41"/>
    <p:sldId id="2134806692" r:id="rId42"/>
    <p:sldId id="2134806693" r:id="rId43"/>
    <p:sldId id="2134806695" r:id="rId44"/>
    <p:sldId id="2134806694" r:id="rId45"/>
    <p:sldId id="2134806696" r:id="rId46"/>
    <p:sldId id="2134806697" r:id="rId47"/>
    <p:sldId id="2134806698" r:id="rId48"/>
    <p:sldId id="2134806661" r:id="rId49"/>
    <p:sldId id="2134806495" r:id="rId50"/>
    <p:sldId id="2134806496" r:id="rId51"/>
  </p:sldIdLst>
  <p:sldSz cx="9144000" cy="6858000" type="screen4x3"/>
  <p:notesSz cx="6858000" cy="9144000"/>
  <p:embeddedFontLst>
    <p:embeddedFont>
      <p:font typeface="Cambria" panose="02040503050406030204" pitchFamily="18" charset="0"/>
      <p:regular r:id="rId53"/>
      <p:bold r:id="rId54"/>
      <p:italic r:id="rId55"/>
      <p:boldItalic r:id="rId56"/>
    </p:embeddedFont>
    <p:embeddedFont>
      <p:font typeface="Dosis" pitchFamily="2" charset="0"/>
      <p:regular r:id="rId57"/>
      <p:bold r:id="rId58"/>
    </p:embeddedFont>
    <p:embeddedFont>
      <p:font typeface="Microsoft Uighur" panose="02000000000000000000" pitchFamily="2" charset="-78"/>
      <p:regular r:id="rId59"/>
      <p:bold r:id="rId60"/>
    </p:embeddedFont>
  </p:embeddedFontLst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7F1EA6FA-D2B5-47DE-ABEC-8F224979B9F1}" v="356" dt="2024-11-12T21:04:04.139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78" d="100"/>
          <a:sy n="78" d="100"/>
        </p:scale>
        <p:origin x="1594" y="77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5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slide" Target="slides/slide49.xml"/><Relationship Id="rId55" Type="http://schemas.openxmlformats.org/officeDocument/2006/relationships/font" Target="fonts/font3.fntdata"/><Relationship Id="rId63" Type="http://schemas.openxmlformats.org/officeDocument/2006/relationships/theme" Target="theme/theme1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font" Target="fonts/font1.fntdata"/><Relationship Id="rId58" Type="http://schemas.openxmlformats.org/officeDocument/2006/relationships/font" Target="fonts/font6.fntdata"/><Relationship Id="rId66" Type="http://schemas.microsoft.com/office/2015/10/relationships/revisionInfo" Target="revisionInfo.xml"/><Relationship Id="rId5" Type="http://schemas.openxmlformats.org/officeDocument/2006/relationships/slide" Target="slides/slide4.xml"/><Relationship Id="rId61" Type="http://schemas.openxmlformats.org/officeDocument/2006/relationships/presProps" Target="presProps.xml"/><Relationship Id="rId19" Type="http://schemas.openxmlformats.org/officeDocument/2006/relationships/slide" Target="slides/slide1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font" Target="fonts/font4.fntdata"/><Relationship Id="rId64" Type="http://schemas.openxmlformats.org/officeDocument/2006/relationships/tableStyles" Target="tableStyles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font" Target="fonts/font7.fntdata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font" Target="fonts/font2.fntdata"/><Relationship Id="rId62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font" Target="fonts/font5.fntdata"/><Relationship Id="rId10" Type="http://schemas.openxmlformats.org/officeDocument/2006/relationships/slide" Target="slides/slide9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notesMaster" Target="notesMasters/notesMaster1.xml"/><Relationship Id="rId60" Type="http://schemas.openxmlformats.org/officeDocument/2006/relationships/font" Target="fonts/font8.fntdata"/><Relationship Id="rId65" Type="http://schemas.microsoft.com/office/2016/11/relationships/changesInfo" Target="changesInfos/changesInfo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9" Type="http://schemas.openxmlformats.org/officeDocument/2006/relationships/slide" Target="slides/slide38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Mohamed Ibissi" userId="90b6f8706c8cb808" providerId="LiveId" clId="{7F1EA6FA-D2B5-47DE-ABEC-8F224979B9F1}"/>
    <pc:docChg chg="undo redo custSel addSld delSld modSld sldOrd">
      <pc:chgData name="Mohamed Ibissi" userId="90b6f8706c8cb808" providerId="LiveId" clId="{7F1EA6FA-D2B5-47DE-ABEC-8F224979B9F1}" dt="2024-11-12T21:04:50.865" v="3524" actId="20577"/>
      <pc:docMkLst>
        <pc:docMk/>
      </pc:docMkLst>
      <pc:sldChg chg="del">
        <pc:chgData name="Mohamed Ibissi" userId="90b6f8706c8cb808" providerId="LiveId" clId="{7F1EA6FA-D2B5-47DE-ABEC-8F224979B9F1}" dt="2024-11-12T06:41:13.669" v="989" actId="47"/>
        <pc:sldMkLst>
          <pc:docMk/>
          <pc:sldMk cId="2480406611" sldId="2134806181"/>
        </pc:sldMkLst>
      </pc:sldChg>
      <pc:sldChg chg="modSp mod">
        <pc:chgData name="Mohamed Ibissi" userId="90b6f8706c8cb808" providerId="LiveId" clId="{7F1EA6FA-D2B5-47DE-ABEC-8F224979B9F1}" dt="2024-11-12T13:05:45.680" v="2392" actId="108"/>
        <pc:sldMkLst>
          <pc:docMk/>
          <pc:sldMk cId="3317191076" sldId="2134806249"/>
        </pc:sldMkLst>
        <pc:spChg chg="mod">
          <ac:chgData name="Mohamed Ibissi" userId="90b6f8706c8cb808" providerId="LiveId" clId="{7F1EA6FA-D2B5-47DE-ABEC-8F224979B9F1}" dt="2024-11-12T13:05:30.191" v="2391" actId="404"/>
          <ac:spMkLst>
            <pc:docMk/>
            <pc:sldMk cId="3317191076" sldId="2134806249"/>
            <ac:spMk id="26" creationId="{C4791D1A-237F-DFDF-87F2-967A8A1A944B}"/>
          </ac:spMkLst>
        </pc:spChg>
        <pc:spChg chg="mod">
          <ac:chgData name="Mohamed Ibissi" userId="90b6f8706c8cb808" providerId="LiveId" clId="{7F1EA6FA-D2B5-47DE-ABEC-8F224979B9F1}" dt="2024-11-12T13:05:30.191" v="2391" actId="404"/>
          <ac:spMkLst>
            <pc:docMk/>
            <pc:sldMk cId="3317191076" sldId="2134806249"/>
            <ac:spMk id="27" creationId="{7514BC20-DCAA-097A-963C-3C62B1138CEB}"/>
          </ac:spMkLst>
        </pc:spChg>
        <pc:spChg chg="mod">
          <ac:chgData name="Mohamed Ibissi" userId="90b6f8706c8cb808" providerId="LiveId" clId="{7F1EA6FA-D2B5-47DE-ABEC-8F224979B9F1}" dt="2024-11-12T13:05:30.191" v="2391" actId="404"/>
          <ac:spMkLst>
            <pc:docMk/>
            <pc:sldMk cId="3317191076" sldId="2134806249"/>
            <ac:spMk id="29" creationId="{C9664CAF-E9EA-FF81-C096-F576958011E5}"/>
          </ac:spMkLst>
        </pc:spChg>
        <pc:spChg chg="mod">
          <ac:chgData name="Mohamed Ibissi" userId="90b6f8706c8cb808" providerId="LiveId" clId="{7F1EA6FA-D2B5-47DE-ABEC-8F224979B9F1}" dt="2024-11-12T13:05:30.191" v="2391" actId="404"/>
          <ac:spMkLst>
            <pc:docMk/>
            <pc:sldMk cId="3317191076" sldId="2134806249"/>
            <ac:spMk id="30" creationId="{9B55B03F-0996-CDCC-E5DF-A6437BA3223D}"/>
          </ac:spMkLst>
        </pc:spChg>
        <pc:spChg chg="mod">
          <ac:chgData name="Mohamed Ibissi" userId="90b6f8706c8cb808" providerId="LiveId" clId="{7F1EA6FA-D2B5-47DE-ABEC-8F224979B9F1}" dt="2024-11-12T13:05:30.191" v="2391" actId="404"/>
          <ac:spMkLst>
            <pc:docMk/>
            <pc:sldMk cId="3317191076" sldId="2134806249"/>
            <ac:spMk id="32" creationId="{A9DABFE0-70C8-684C-B5AF-C1D7B97901FC}"/>
          </ac:spMkLst>
        </pc:spChg>
        <pc:spChg chg="mod">
          <ac:chgData name="Mohamed Ibissi" userId="90b6f8706c8cb808" providerId="LiveId" clId="{7F1EA6FA-D2B5-47DE-ABEC-8F224979B9F1}" dt="2024-11-12T13:05:30.191" v="2391" actId="404"/>
          <ac:spMkLst>
            <pc:docMk/>
            <pc:sldMk cId="3317191076" sldId="2134806249"/>
            <ac:spMk id="33" creationId="{78F93B5D-E5A1-C1F3-EA0E-CE08E76CD02C}"/>
          </ac:spMkLst>
        </pc:spChg>
        <pc:spChg chg="mod">
          <ac:chgData name="Mohamed Ibissi" userId="90b6f8706c8cb808" providerId="LiveId" clId="{7F1EA6FA-D2B5-47DE-ABEC-8F224979B9F1}" dt="2024-11-12T13:05:45.680" v="2392" actId="108"/>
          <ac:spMkLst>
            <pc:docMk/>
            <pc:sldMk cId="3317191076" sldId="2134806249"/>
            <ac:spMk id="36" creationId="{83B9A300-CA53-64F3-F908-C262E606C7CC}"/>
          </ac:spMkLst>
        </pc:spChg>
        <pc:spChg chg="mod">
          <ac:chgData name="Mohamed Ibissi" userId="90b6f8706c8cb808" providerId="LiveId" clId="{7F1EA6FA-D2B5-47DE-ABEC-8F224979B9F1}" dt="2024-11-12T13:05:30.191" v="2391" actId="404"/>
          <ac:spMkLst>
            <pc:docMk/>
            <pc:sldMk cId="3317191076" sldId="2134806249"/>
            <ac:spMk id="44" creationId="{2BE61A74-F657-A74B-9E0C-C38627C06DC1}"/>
          </ac:spMkLst>
        </pc:spChg>
        <pc:spChg chg="mod">
          <ac:chgData name="Mohamed Ibissi" userId="90b6f8706c8cb808" providerId="LiveId" clId="{7F1EA6FA-D2B5-47DE-ABEC-8F224979B9F1}" dt="2024-11-12T13:05:30.191" v="2391" actId="404"/>
          <ac:spMkLst>
            <pc:docMk/>
            <pc:sldMk cId="3317191076" sldId="2134806249"/>
            <ac:spMk id="45" creationId="{5A3D4305-FB29-7796-6B8C-33685E968CAF}"/>
          </ac:spMkLst>
        </pc:spChg>
      </pc:sldChg>
      <pc:sldChg chg="addSp delSp modSp add del mod">
        <pc:chgData name="Mohamed Ibissi" userId="90b6f8706c8cb808" providerId="LiveId" clId="{7F1EA6FA-D2B5-47DE-ABEC-8F224979B9F1}" dt="2024-11-12T11:21:15.044" v="1303" actId="1076"/>
        <pc:sldMkLst>
          <pc:docMk/>
          <pc:sldMk cId="1811523996" sldId="2134806400"/>
        </pc:sldMkLst>
        <pc:spChg chg="mod">
          <ac:chgData name="Mohamed Ibissi" userId="90b6f8706c8cb808" providerId="LiveId" clId="{7F1EA6FA-D2B5-47DE-ABEC-8F224979B9F1}" dt="2024-11-12T11:21:15.044" v="1303" actId="1076"/>
          <ac:spMkLst>
            <pc:docMk/>
            <pc:sldMk cId="1811523996" sldId="2134806400"/>
            <ac:spMk id="5" creationId="{2FFE84DF-8EC2-7EF5-2C60-AA66924D2BFF}"/>
          </ac:spMkLst>
        </pc:spChg>
        <pc:picChg chg="add mod ord">
          <ac:chgData name="Mohamed Ibissi" userId="90b6f8706c8cb808" providerId="LiveId" clId="{7F1EA6FA-D2B5-47DE-ABEC-8F224979B9F1}" dt="2024-11-12T06:31:59.101" v="929" actId="167"/>
          <ac:picMkLst>
            <pc:docMk/>
            <pc:sldMk cId="1811523996" sldId="2134806400"/>
            <ac:picMk id="2" creationId="{9B4ED19B-9A36-9473-BE37-8EE916C90E0C}"/>
          </ac:picMkLst>
        </pc:picChg>
        <pc:picChg chg="del mod">
          <ac:chgData name="Mohamed Ibissi" userId="90b6f8706c8cb808" providerId="LiveId" clId="{7F1EA6FA-D2B5-47DE-ABEC-8F224979B9F1}" dt="2024-11-12T06:31:54.988" v="927" actId="478"/>
          <ac:picMkLst>
            <pc:docMk/>
            <pc:sldMk cId="1811523996" sldId="2134806400"/>
            <ac:picMk id="10" creationId="{7C0F6729-E522-DE33-B3A9-7EEF98402CB1}"/>
          </ac:picMkLst>
        </pc:picChg>
      </pc:sldChg>
      <pc:sldChg chg="delSp modSp mod">
        <pc:chgData name="Mohamed Ibissi" userId="90b6f8706c8cb808" providerId="LiveId" clId="{7F1EA6FA-D2B5-47DE-ABEC-8F224979B9F1}" dt="2024-11-12T20:01:05.823" v="2397" actId="20577"/>
        <pc:sldMkLst>
          <pc:docMk/>
          <pc:sldMk cId="3722766235" sldId="2134806405"/>
        </pc:sldMkLst>
        <pc:spChg chg="del">
          <ac:chgData name="Mohamed Ibissi" userId="90b6f8706c8cb808" providerId="LiveId" clId="{7F1EA6FA-D2B5-47DE-ABEC-8F224979B9F1}" dt="2024-11-12T05:32:16.375" v="59" actId="478"/>
          <ac:spMkLst>
            <pc:docMk/>
            <pc:sldMk cId="3722766235" sldId="2134806405"/>
            <ac:spMk id="8" creationId="{69F7B7C7-4B93-4E6D-E1B4-4CE13AC7905C}"/>
          </ac:spMkLst>
        </pc:spChg>
        <pc:spChg chg="mod">
          <ac:chgData name="Mohamed Ibissi" userId="90b6f8706c8cb808" providerId="LiveId" clId="{7F1EA6FA-D2B5-47DE-ABEC-8F224979B9F1}" dt="2024-11-12T06:28:19.526" v="917" actId="20577"/>
          <ac:spMkLst>
            <pc:docMk/>
            <pc:sldMk cId="3722766235" sldId="2134806405"/>
            <ac:spMk id="9" creationId="{A4942DF5-7E1C-77B7-B92E-FF94A01BA5F8}"/>
          </ac:spMkLst>
        </pc:spChg>
        <pc:spChg chg="del">
          <ac:chgData name="Mohamed Ibissi" userId="90b6f8706c8cb808" providerId="LiveId" clId="{7F1EA6FA-D2B5-47DE-ABEC-8F224979B9F1}" dt="2024-11-12T05:32:29.465" v="63" actId="478"/>
          <ac:spMkLst>
            <pc:docMk/>
            <pc:sldMk cId="3722766235" sldId="2134806405"/>
            <ac:spMk id="11" creationId="{9F3A5224-A56C-ACDB-21B0-E21C05BDBA2A}"/>
          </ac:spMkLst>
        </pc:spChg>
        <pc:spChg chg="mod">
          <ac:chgData name="Mohamed Ibissi" userId="90b6f8706c8cb808" providerId="LiveId" clId="{7F1EA6FA-D2B5-47DE-ABEC-8F224979B9F1}" dt="2024-11-12T05:33:24.935" v="93" actId="20577"/>
          <ac:spMkLst>
            <pc:docMk/>
            <pc:sldMk cId="3722766235" sldId="2134806405"/>
            <ac:spMk id="15" creationId="{45512E85-08B4-5DDF-9966-C4BF3F3A17DA}"/>
          </ac:spMkLst>
        </pc:spChg>
        <pc:spChg chg="mod">
          <ac:chgData name="Mohamed Ibissi" userId="90b6f8706c8cb808" providerId="LiveId" clId="{7F1EA6FA-D2B5-47DE-ABEC-8F224979B9F1}" dt="2024-11-12T05:33:37.917" v="95" actId="20577"/>
          <ac:spMkLst>
            <pc:docMk/>
            <pc:sldMk cId="3722766235" sldId="2134806405"/>
            <ac:spMk id="17" creationId="{4AF662B8-77F3-6D4F-B3AB-8BDC7477F64A}"/>
          </ac:spMkLst>
        </pc:spChg>
        <pc:spChg chg="del">
          <ac:chgData name="Mohamed Ibissi" userId="90b6f8706c8cb808" providerId="LiveId" clId="{7F1EA6FA-D2B5-47DE-ABEC-8F224979B9F1}" dt="2024-11-12T05:32:34.782" v="65" actId="478"/>
          <ac:spMkLst>
            <pc:docMk/>
            <pc:sldMk cId="3722766235" sldId="2134806405"/>
            <ac:spMk id="18" creationId="{F34FE242-C8D3-94E9-8D6F-95198A53CE5C}"/>
          </ac:spMkLst>
        </pc:spChg>
        <pc:spChg chg="mod">
          <ac:chgData name="Mohamed Ibissi" userId="90b6f8706c8cb808" providerId="LiveId" clId="{7F1EA6FA-D2B5-47DE-ABEC-8F224979B9F1}" dt="2024-11-12T05:33:42.748" v="96" actId="20577"/>
          <ac:spMkLst>
            <pc:docMk/>
            <pc:sldMk cId="3722766235" sldId="2134806405"/>
            <ac:spMk id="19" creationId="{9FE47017-CF62-AAAB-DF46-0BC241C45D79}"/>
          </ac:spMkLst>
        </pc:spChg>
        <pc:spChg chg="del">
          <ac:chgData name="Mohamed Ibissi" userId="90b6f8706c8cb808" providerId="LiveId" clId="{7F1EA6FA-D2B5-47DE-ABEC-8F224979B9F1}" dt="2024-11-12T05:32:21.320" v="61" actId="478"/>
          <ac:spMkLst>
            <pc:docMk/>
            <pc:sldMk cId="3722766235" sldId="2134806405"/>
            <ac:spMk id="20" creationId="{AE20C5C7-AA8C-7A53-6522-12C00311AAE8}"/>
          </ac:spMkLst>
        </pc:spChg>
        <pc:spChg chg="mod">
          <ac:chgData name="Mohamed Ibissi" userId="90b6f8706c8cb808" providerId="LiveId" clId="{7F1EA6FA-D2B5-47DE-ABEC-8F224979B9F1}" dt="2024-11-12T20:01:05.823" v="2397" actId="20577"/>
          <ac:spMkLst>
            <pc:docMk/>
            <pc:sldMk cId="3722766235" sldId="2134806405"/>
            <ac:spMk id="55" creationId="{794675B7-0983-E62A-CE83-0D53902CBAF5}"/>
          </ac:spMkLst>
        </pc:spChg>
        <pc:spChg chg="del">
          <ac:chgData name="Mohamed Ibissi" userId="90b6f8706c8cb808" providerId="LiveId" clId="{7F1EA6FA-D2B5-47DE-ABEC-8F224979B9F1}" dt="2024-11-12T05:32:13.660" v="58" actId="478"/>
          <ac:spMkLst>
            <pc:docMk/>
            <pc:sldMk cId="3722766235" sldId="2134806405"/>
            <ac:spMk id="82" creationId="{496B13D3-E5C7-F1F4-06A9-715BD43ACA53}"/>
          </ac:spMkLst>
        </pc:spChg>
        <pc:spChg chg="del">
          <ac:chgData name="Mohamed Ibissi" userId="90b6f8706c8cb808" providerId="LiveId" clId="{7F1EA6FA-D2B5-47DE-ABEC-8F224979B9F1}" dt="2024-11-12T05:32:27.698" v="62" actId="478"/>
          <ac:spMkLst>
            <pc:docMk/>
            <pc:sldMk cId="3722766235" sldId="2134806405"/>
            <ac:spMk id="84" creationId="{88401652-24E5-3103-FE29-B939B4B963C3}"/>
          </ac:spMkLst>
        </pc:spChg>
        <pc:picChg chg="del">
          <ac:chgData name="Mohamed Ibissi" userId="90b6f8706c8cb808" providerId="LiveId" clId="{7F1EA6FA-D2B5-47DE-ABEC-8F224979B9F1}" dt="2024-11-12T05:32:32.232" v="64" actId="478"/>
          <ac:picMkLst>
            <pc:docMk/>
            <pc:sldMk cId="3722766235" sldId="2134806405"/>
            <ac:picMk id="21" creationId="{1757506C-50D7-A64A-6E9F-85C129F32AC3}"/>
          </ac:picMkLst>
        </pc:picChg>
        <pc:picChg chg="del">
          <ac:chgData name="Mohamed Ibissi" userId="90b6f8706c8cb808" providerId="LiveId" clId="{7F1EA6FA-D2B5-47DE-ABEC-8F224979B9F1}" dt="2024-11-12T05:32:18.847" v="60" actId="478"/>
          <ac:picMkLst>
            <pc:docMk/>
            <pc:sldMk cId="3722766235" sldId="2134806405"/>
            <ac:picMk id="24" creationId="{7A579DC5-FA5C-DEBA-8367-C2D2DA35744C}"/>
          </ac:picMkLst>
        </pc:picChg>
      </pc:sldChg>
      <pc:sldChg chg="addSp delSp modSp mod">
        <pc:chgData name="Mohamed Ibissi" userId="90b6f8706c8cb808" providerId="LiveId" clId="{7F1EA6FA-D2B5-47DE-ABEC-8F224979B9F1}" dt="2024-11-12T13:15:44.865" v="2396" actId="554"/>
        <pc:sldMkLst>
          <pc:docMk/>
          <pc:sldMk cId="2847131082" sldId="2134806406"/>
        </pc:sldMkLst>
        <pc:spChg chg="mod">
          <ac:chgData name="Mohamed Ibissi" userId="90b6f8706c8cb808" providerId="LiveId" clId="{7F1EA6FA-D2B5-47DE-ABEC-8F224979B9F1}" dt="2024-11-12T05:38:27.558" v="187" actId="20577"/>
          <ac:spMkLst>
            <pc:docMk/>
            <pc:sldMk cId="2847131082" sldId="2134806406"/>
            <ac:spMk id="8" creationId="{407B291E-39AB-ED59-91BB-808EBC9ED614}"/>
          </ac:spMkLst>
        </pc:spChg>
        <pc:spChg chg="mod">
          <ac:chgData name="Mohamed Ibissi" userId="90b6f8706c8cb808" providerId="LiveId" clId="{7F1EA6FA-D2B5-47DE-ABEC-8F224979B9F1}" dt="2024-11-12T13:15:23.084" v="2393" actId="1076"/>
          <ac:spMkLst>
            <pc:docMk/>
            <pc:sldMk cId="2847131082" sldId="2134806406"/>
            <ac:spMk id="9" creationId="{06969316-D502-BE78-1B94-FE9FEFDCBF13}"/>
          </ac:spMkLst>
        </pc:spChg>
        <pc:spChg chg="mod">
          <ac:chgData name="Mohamed Ibissi" userId="90b6f8706c8cb808" providerId="LiveId" clId="{7F1EA6FA-D2B5-47DE-ABEC-8F224979B9F1}" dt="2024-11-12T05:35:53.558" v="101" actId="14100"/>
          <ac:spMkLst>
            <pc:docMk/>
            <pc:sldMk cId="2847131082" sldId="2134806406"/>
            <ac:spMk id="12" creationId="{CD14C045-02D3-7077-7653-8FE29C9975B9}"/>
          </ac:spMkLst>
        </pc:spChg>
        <pc:spChg chg="mod">
          <ac:chgData name="Mohamed Ibissi" userId="90b6f8706c8cb808" providerId="LiveId" clId="{7F1EA6FA-D2B5-47DE-ABEC-8F224979B9F1}" dt="2024-11-12T05:36:28.469" v="109" actId="164"/>
          <ac:spMkLst>
            <pc:docMk/>
            <pc:sldMk cId="2847131082" sldId="2134806406"/>
            <ac:spMk id="13" creationId="{5F88AF1A-95D1-84DD-3E0D-DB062E49B187}"/>
          </ac:spMkLst>
        </pc:spChg>
        <pc:spChg chg="mod">
          <ac:chgData name="Mohamed Ibissi" userId="90b6f8706c8cb808" providerId="LiveId" clId="{7F1EA6FA-D2B5-47DE-ABEC-8F224979B9F1}" dt="2024-11-12T05:36:28.469" v="109" actId="164"/>
          <ac:spMkLst>
            <pc:docMk/>
            <pc:sldMk cId="2847131082" sldId="2134806406"/>
            <ac:spMk id="15" creationId="{C1A55318-BF3B-086B-4E68-DA4D9431011C}"/>
          </ac:spMkLst>
        </pc:spChg>
        <pc:spChg chg="mod">
          <ac:chgData name="Mohamed Ibissi" userId="90b6f8706c8cb808" providerId="LiveId" clId="{7F1EA6FA-D2B5-47DE-ABEC-8F224979B9F1}" dt="2024-11-12T05:36:09.919" v="108" actId="1036"/>
          <ac:spMkLst>
            <pc:docMk/>
            <pc:sldMk cId="2847131082" sldId="2134806406"/>
            <ac:spMk id="19" creationId="{9D6A3147-0DFC-AF15-491E-F043AF0F253C}"/>
          </ac:spMkLst>
        </pc:spChg>
        <pc:spChg chg="mod">
          <ac:chgData name="Mohamed Ibissi" userId="90b6f8706c8cb808" providerId="LiveId" clId="{7F1EA6FA-D2B5-47DE-ABEC-8F224979B9F1}" dt="2024-11-12T05:37:59.443" v="146" actId="20577"/>
          <ac:spMkLst>
            <pc:docMk/>
            <pc:sldMk cId="2847131082" sldId="2134806406"/>
            <ac:spMk id="22" creationId="{6E46A951-BEFF-0552-93CF-989A98F21CD7}"/>
          </ac:spMkLst>
        </pc:spChg>
        <pc:spChg chg="mod">
          <ac:chgData name="Mohamed Ibissi" userId="90b6f8706c8cb808" providerId="LiveId" clId="{7F1EA6FA-D2B5-47DE-ABEC-8F224979B9F1}" dt="2024-11-12T05:36:31.784" v="110"/>
          <ac:spMkLst>
            <pc:docMk/>
            <pc:sldMk cId="2847131082" sldId="2134806406"/>
            <ac:spMk id="23" creationId="{9B80F9B3-C664-B4D7-BC1C-A286BD2D8928}"/>
          </ac:spMkLst>
        </pc:spChg>
        <pc:spChg chg="mod">
          <ac:chgData name="Mohamed Ibissi" userId="90b6f8706c8cb808" providerId="LiveId" clId="{7F1EA6FA-D2B5-47DE-ABEC-8F224979B9F1}" dt="2024-11-12T05:36:31.784" v="110"/>
          <ac:spMkLst>
            <pc:docMk/>
            <pc:sldMk cId="2847131082" sldId="2134806406"/>
            <ac:spMk id="24" creationId="{23C69528-2A60-8D07-E977-AB3649EA8AAA}"/>
          </ac:spMkLst>
        </pc:spChg>
        <pc:spChg chg="mod">
          <ac:chgData name="Mohamed Ibissi" userId="90b6f8706c8cb808" providerId="LiveId" clId="{7F1EA6FA-D2B5-47DE-ABEC-8F224979B9F1}" dt="2024-11-12T05:38:42.229" v="205" actId="20577"/>
          <ac:spMkLst>
            <pc:docMk/>
            <pc:sldMk cId="2847131082" sldId="2134806406"/>
            <ac:spMk id="27" creationId="{06967ED7-970C-9BC7-E8BD-F7BA5814F475}"/>
          </ac:spMkLst>
        </pc:spChg>
        <pc:spChg chg="mod">
          <ac:chgData name="Mohamed Ibissi" userId="90b6f8706c8cb808" providerId="LiveId" clId="{7F1EA6FA-D2B5-47DE-ABEC-8F224979B9F1}" dt="2024-11-12T05:36:38.539" v="112"/>
          <ac:spMkLst>
            <pc:docMk/>
            <pc:sldMk cId="2847131082" sldId="2134806406"/>
            <ac:spMk id="28" creationId="{5490AC2D-02E6-1920-FE77-E5F13066E709}"/>
          </ac:spMkLst>
        </pc:spChg>
        <pc:spChg chg="mod">
          <ac:chgData name="Mohamed Ibissi" userId="90b6f8706c8cb808" providerId="LiveId" clId="{7F1EA6FA-D2B5-47DE-ABEC-8F224979B9F1}" dt="2024-11-12T05:36:38.539" v="112"/>
          <ac:spMkLst>
            <pc:docMk/>
            <pc:sldMk cId="2847131082" sldId="2134806406"/>
            <ac:spMk id="29" creationId="{2C3A18CA-F00A-FD6E-96FE-17D8CF58D42E}"/>
          </ac:spMkLst>
        </pc:spChg>
        <pc:grpChg chg="add mod">
          <ac:chgData name="Mohamed Ibissi" userId="90b6f8706c8cb808" providerId="LiveId" clId="{7F1EA6FA-D2B5-47DE-ABEC-8F224979B9F1}" dt="2024-11-12T05:36:28.469" v="109" actId="164"/>
          <ac:grpSpMkLst>
            <pc:docMk/>
            <pc:sldMk cId="2847131082" sldId="2134806406"/>
            <ac:grpSpMk id="11" creationId="{D33DD05B-C959-42B9-68AF-007E34EB1753}"/>
          </ac:grpSpMkLst>
        </pc:grpChg>
        <pc:grpChg chg="add mod">
          <ac:chgData name="Mohamed Ibissi" userId="90b6f8706c8cb808" providerId="LiveId" clId="{7F1EA6FA-D2B5-47DE-ABEC-8F224979B9F1}" dt="2024-11-12T05:36:36.500" v="111" actId="1076"/>
          <ac:grpSpMkLst>
            <pc:docMk/>
            <pc:sldMk cId="2847131082" sldId="2134806406"/>
            <ac:grpSpMk id="14" creationId="{2467F956-C701-191B-8EF5-35CE0B754F4B}"/>
          </ac:grpSpMkLst>
        </pc:grpChg>
        <pc:grpChg chg="add mod">
          <ac:chgData name="Mohamed Ibissi" userId="90b6f8706c8cb808" providerId="LiveId" clId="{7F1EA6FA-D2B5-47DE-ABEC-8F224979B9F1}" dt="2024-11-12T05:36:53.264" v="116" actId="1037"/>
          <ac:grpSpMkLst>
            <pc:docMk/>
            <pc:sldMk cId="2847131082" sldId="2134806406"/>
            <ac:grpSpMk id="26" creationId="{DAF46B53-845D-8879-7F89-A3031FA9DA76}"/>
          </ac:grpSpMkLst>
        </pc:grpChg>
        <pc:picChg chg="del mod">
          <ac:chgData name="Mohamed Ibissi" userId="90b6f8706c8cb808" providerId="LiveId" clId="{7F1EA6FA-D2B5-47DE-ABEC-8F224979B9F1}" dt="2024-11-12T05:40:32.892" v="227" actId="478"/>
          <ac:picMkLst>
            <pc:docMk/>
            <pc:sldMk cId="2847131082" sldId="2134806406"/>
            <ac:picMk id="10" creationId="{0EF2E8A1-FB93-F01D-4E55-E63ABBEC4E97}"/>
          </ac:picMkLst>
        </pc:picChg>
        <pc:picChg chg="mod">
          <ac:chgData name="Mohamed Ibissi" userId="90b6f8706c8cb808" providerId="LiveId" clId="{7F1EA6FA-D2B5-47DE-ABEC-8F224979B9F1}" dt="2024-11-12T05:36:28.469" v="109" actId="164"/>
          <ac:picMkLst>
            <pc:docMk/>
            <pc:sldMk cId="2847131082" sldId="2134806406"/>
            <ac:picMk id="16" creationId="{1C1663B9-24DF-1905-A2AC-FE267FB6EAF0}"/>
          </ac:picMkLst>
        </pc:picChg>
        <pc:picChg chg="mod">
          <ac:chgData name="Mohamed Ibissi" userId="90b6f8706c8cb808" providerId="LiveId" clId="{7F1EA6FA-D2B5-47DE-ABEC-8F224979B9F1}" dt="2024-11-12T05:36:31.784" v="110"/>
          <ac:picMkLst>
            <pc:docMk/>
            <pc:sldMk cId="2847131082" sldId="2134806406"/>
            <ac:picMk id="25" creationId="{33672343-7570-4C5A-F0EA-72F21B30E80C}"/>
          </ac:picMkLst>
        </pc:picChg>
        <pc:picChg chg="mod">
          <ac:chgData name="Mohamed Ibissi" userId="90b6f8706c8cb808" providerId="LiveId" clId="{7F1EA6FA-D2B5-47DE-ABEC-8F224979B9F1}" dt="2024-11-12T05:36:38.539" v="112"/>
          <ac:picMkLst>
            <pc:docMk/>
            <pc:sldMk cId="2847131082" sldId="2134806406"/>
            <ac:picMk id="30" creationId="{28363DDF-F8C0-0DEA-157D-15F12EA82B78}"/>
          </ac:picMkLst>
        </pc:picChg>
        <pc:picChg chg="add mod">
          <ac:chgData name="Mohamed Ibissi" userId="90b6f8706c8cb808" providerId="LiveId" clId="{7F1EA6FA-D2B5-47DE-ABEC-8F224979B9F1}" dt="2024-11-12T13:15:44.865" v="2396" actId="554"/>
          <ac:picMkLst>
            <pc:docMk/>
            <pc:sldMk cId="2847131082" sldId="2134806406"/>
            <ac:picMk id="32" creationId="{23B1B7A6-65FD-0721-1A6C-D8DD93BE499F}"/>
          </ac:picMkLst>
        </pc:picChg>
        <pc:picChg chg="add mod">
          <ac:chgData name="Mohamed Ibissi" userId="90b6f8706c8cb808" providerId="LiveId" clId="{7F1EA6FA-D2B5-47DE-ABEC-8F224979B9F1}" dt="2024-11-12T13:15:44.865" v="2396" actId="554"/>
          <ac:picMkLst>
            <pc:docMk/>
            <pc:sldMk cId="2847131082" sldId="2134806406"/>
            <ac:picMk id="34" creationId="{A3203584-F91A-51D5-E1BA-83977B3E656B}"/>
          </ac:picMkLst>
        </pc:picChg>
        <pc:picChg chg="add mod">
          <ac:chgData name="Mohamed Ibissi" userId="90b6f8706c8cb808" providerId="LiveId" clId="{7F1EA6FA-D2B5-47DE-ABEC-8F224979B9F1}" dt="2024-11-12T13:15:44.865" v="2396" actId="554"/>
          <ac:picMkLst>
            <pc:docMk/>
            <pc:sldMk cId="2847131082" sldId="2134806406"/>
            <ac:picMk id="36" creationId="{0210E19C-3E32-2CC5-1232-EDF1600D2268}"/>
          </ac:picMkLst>
        </pc:picChg>
        <pc:cxnChg chg="mod">
          <ac:chgData name="Mohamed Ibissi" userId="90b6f8706c8cb808" providerId="LiveId" clId="{7F1EA6FA-D2B5-47DE-ABEC-8F224979B9F1}" dt="2024-11-12T05:36:09.919" v="108" actId="1036"/>
          <ac:cxnSpMkLst>
            <pc:docMk/>
            <pc:sldMk cId="2847131082" sldId="2134806406"/>
            <ac:cxnSpMk id="6" creationId="{96D4D483-5B07-B4C2-3F60-E0B712665810}"/>
          </ac:cxnSpMkLst>
        </pc:cxnChg>
        <pc:cxnChg chg="mod">
          <ac:chgData name="Mohamed Ibissi" userId="90b6f8706c8cb808" providerId="LiveId" clId="{7F1EA6FA-D2B5-47DE-ABEC-8F224979B9F1}" dt="2024-11-12T05:36:09.919" v="108" actId="1036"/>
          <ac:cxnSpMkLst>
            <pc:docMk/>
            <pc:sldMk cId="2847131082" sldId="2134806406"/>
            <ac:cxnSpMk id="17" creationId="{044A9ABB-B6D8-B950-929F-5A5DA55A0CFC}"/>
          </ac:cxnSpMkLst>
        </pc:cxnChg>
      </pc:sldChg>
      <pc:sldChg chg="addSp delSp modSp del mod">
        <pc:chgData name="Mohamed Ibissi" userId="90b6f8706c8cb808" providerId="LiveId" clId="{7F1EA6FA-D2B5-47DE-ABEC-8F224979B9F1}" dt="2024-11-12T11:14:00.510" v="1092" actId="47"/>
        <pc:sldMkLst>
          <pc:docMk/>
          <pc:sldMk cId="1924709726" sldId="2134806410"/>
        </pc:sldMkLst>
        <pc:picChg chg="add mod ord">
          <ac:chgData name="Mohamed Ibissi" userId="90b6f8706c8cb808" providerId="LiveId" clId="{7F1EA6FA-D2B5-47DE-ABEC-8F224979B9F1}" dt="2024-11-12T06:33:57.934" v="959" actId="167"/>
          <ac:picMkLst>
            <pc:docMk/>
            <pc:sldMk cId="1924709726" sldId="2134806410"/>
            <ac:picMk id="2" creationId="{A3D17C3F-442E-58AA-5638-8BD47411165B}"/>
          </ac:picMkLst>
        </pc:picChg>
        <pc:picChg chg="del">
          <ac:chgData name="Mohamed Ibissi" userId="90b6f8706c8cb808" providerId="LiveId" clId="{7F1EA6FA-D2B5-47DE-ABEC-8F224979B9F1}" dt="2024-11-12T06:33:52.726" v="957" actId="478"/>
          <ac:picMkLst>
            <pc:docMk/>
            <pc:sldMk cId="1924709726" sldId="2134806410"/>
            <ac:picMk id="4" creationId="{FED0AD2F-6EF6-79F3-4517-CDB4EB5B2D4A}"/>
          </ac:picMkLst>
        </pc:picChg>
      </pc:sldChg>
      <pc:sldChg chg="addSp delSp modSp mod">
        <pc:chgData name="Mohamed Ibissi" userId="90b6f8706c8cb808" providerId="LiveId" clId="{7F1EA6FA-D2B5-47DE-ABEC-8F224979B9F1}" dt="2024-11-12T11:33:08.017" v="1379" actId="207"/>
        <pc:sldMkLst>
          <pc:docMk/>
          <pc:sldMk cId="3487738216" sldId="2134806444"/>
        </pc:sldMkLst>
        <pc:spChg chg="del mod">
          <ac:chgData name="Mohamed Ibissi" userId="90b6f8706c8cb808" providerId="LiveId" clId="{7F1EA6FA-D2B5-47DE-ABEC-8F224979B9F1}" dt="2024-11-12T11:27:41.892" v="1354" actId="478"/>
          <ac:spMkLst>
            <pc:docMk/>
            <pc:sldMk cId="3487738216" sldId="2134806444"/>
            <ac:spMk id="6" creationId="{B188CB11-9FE2-2A22-C350-B6425F9338BA}"/>
          </ac:spMkLst>
        </pc:spChg>
        <pc:spChg chg="del">
          <ac:chgData name="Mohamed Ibissi" userId="90b6f8706c8cb808" providerId="LiveId" clId="{7F1EA6FA-D2B5-47DE-ABEC-8F224979B9F1}" dt="2024-11-12T06:40:29.041" v="979" actId="478"/>
          <ac:spMkLst>
            <pc:docMk/>
            <pc:sldMk cId="3487738216" sldId="2134806444"/>
            <ac:spMk id="11" creationId="{E93C7F30-5531-489E-FE4F-A792D322550E}"/>
          </ac:spMkLst>
        </pc:spChg>
        <pc:spChg chg="add mod">
          <ac:chgData name="Mohamed Ibissi" userId="90b6f8706c8cb808" providerId="LiveId" clId="{7F1EA6FA-D2B5-47DE-ABEC-8F224979B9F1}" dt="2024-11-12T11:31:53.247" v="1367" actId="6549"/>
          <ac:spMkLst>
            <pc:docMk/>
            <pc:sldMk cId="3487738216" sldId="2134806444"/>
            <ac:spMk id="14" creationId="{1D51334B-B71A-F993-F5DF-949B9D260AFF}"/>
          </ac:spMkLst>
        </pc:spChg>
        <pc:spChg chg="add mod">
          <ac:chgData name="Mohamed Ibissi" userId="90b6f8706c8cb808" providerId="LiveId" clId="{7F1EA6FA-D2B5-47DE-ABEC-8F224979B9F1}" dt="2024-11-12T11:32:38.324" v="1374" actId="14100"/>
          <ac:spMkLst>
            <pc:docMk/>
            <pc:sldMk cId="3487738216" sldId="2134806444"/>
            <ac:spMk id="17" creationId="{CC88C068-49F7-A593-BB2F-A8F753856A07}"/>
          </ac:spMkLst>
        </pc:spChg>
        <pc:spChg chg="add mod">
          <ac:chgData name="Mohamed Ibissi" userId="90b6f8706c8cb808" providerId="LiveId" clId="{7F1EA6FA-D2B5-47DE-ABEC-8F224979B9F1}" dt="2024-11-12T11:33:08.017" v="1379" actId="207"/>
          <ac:spMkLst>
            <pc:docMk/>
            <pc:sldMk cId="3487738216" sldId="2134806444"/>
            <ac:spMk id="18" creationId="{DD1F60CF-C3F4-7A4C-8C9D-1F0C3C038FB7}"/>
          </ac:spMkLst>
        </pc:spChg>
        <pc:picChg chg="del">
          <ac:chgData name="Mohamed Ibissi" userId="90b6f8706c8cb808" providerId="LiveId" clId="{7F1EA6FA-D2B5-47DE-ABEC-8F224979B9F1}" dt="2024-11-12T06:43:30.440" v="1066" actId="478"/>
          <ac:picMkLst>
            <pc:docMk/>
            <pc:sldMk cId="3487738216" sldId="2134806444"/>
            <ac:picMk id="2" creationId="{2D44C60C-E332-BCC0-8194-69C11A72BB90}"/>
          </ac:picMkLst>
        </pc:picChg>
        <pc:picChg chg="add mod ord">
          <ac:chgData name="Mohamed Ibissi" userId="90b6f8706c8cb808" providerId="LiveId" clId="{7F1EA6FA-D2B5-47DE-ABEC-8F224979B9F1}" dt="2024-11-12T06:43:34.130" v="1068" actId="167"/>
          <ac:picMkLst>
            <pc:docMk/>
            <pc:sldMk cId="3487738216" sldId="2134806444"/>
            <ac:picMk id="3" creationId="{00A768CB-E857-B781-7DF3-AA99CAB48CC6}"/>
          </ac:picMkLst>
        </pc:picChg>
        <pc:picChg chg="del">
          <ac:chgData name="Mohamed Ibissi" userId="90b6f8706c8cb808" providerId="LiveId" clId="{7F1EA6FA-D2B5-47DE-ABEC-8F224979B9F1}" dt="2024-11-12T06:40:29.041" v="979" actId="478"/>
          <ac:picMkLst>
            <pc:docMk/>
            <pc:sldMk cId="3487738216" sldId="2134806444"/>
            <ac:picMk id="4" creationId="{8A2515EC-51F0-BD0C-0107-1E645095391F}"/>
          </ac:picMkLst>
        </pc:picChg>
        <pc:picChg chg="del">
          <ac:chgData name="Mohamed Ibissi" userId="90b6f8706c8cb808" providerId="LiveId" clId="{7F1EA6FA-D2B5-47DE-ABEC-8F224979B9F1}" dt="2024-11-12T06:40:29.041" v="979" actId="478"/>
          <ac:picMkLst>
            <pc:docMk/>
            <pc:sldMk cId="3487738216" sldId="2134806444"/>
            <ac:picMk id="8" creationId="{09EAD3A2-1159-9D76-7A1A-A633BA634911}"/>
          </ac:picMkLst>
        </pc:picChg>
        <pc:picChg chg="del">
          <ac:chgData name="Mohamed Ibissi" userId="90b6f8706c8cb808" providerId="LiveId" clId="{7F1EA6FA-D2B5-47DE-ABEC-8F224979B9F1}" dt="2024-11-12T06:40:29.041" v="979" actId="478"/>
          <ac:picMkLst>
            <pc:docMk/>
            <pc:sldMk cId="3487738216" sldId="2134806444"/>
            <ac:picMk id="9" creationId="{CC2F2290-22F8-AF65-4F9D-956953514332}"/>
          </ac:picMkLst>
        </pc:picChg>
        <pc:picChg chg="del">
          <ac:chgData name="Mohamed Ibissi" userId="90b6f8706c8cb808" providerId="LiveId" clId="{7F1EA6FA-D2B5-47DE-ABEC-8F224979B9F1}" dt="2024-11-12T06:40:29.041" v="979" actId="478"/>
          <ac:picMkLst>
            <pc:docMk/>
            <pc:sldMk cId="3487738216" sldId="2134806444"/>
            <ac:picMk id="10" creationId="{F1685F51-FEC5-AA0C-B58E-0E294A0B57E8}"/>
          </ac:picMkLst>
        </pc:picChg>
        <pc:picChg chg="del">
          <ac:chgData name="Mohamed Ibissi" userId="90b6f8706c8cb808" providerId="LiveId" clId="{7F1EA6FA-D2B5-47DE-ABEC-8F224979B9F1}" dt="2024-11-12T06:40:29.041" v="979" actId="478"/>
          <ac:picMkLst>
            <pc:docMk/>
            <pc:sldMk cId="3487738216" sldId="2134806444"/>
            <ac:picMk id="12" creationId="{7FA20F4A-A9D0-83E8-BEE5-D25729497BB4}"/>
          </ac:picMkLst>
        </pc:picChg>
        <pc:picChg chg="add del mod">
          <ac:chgData name="Mohamed Ibissi" userId="90b6f8706c8cb808" providerId="LiveId" clId="{7F1EA6FA-D2B5-47DE-ABEC-8F224979B9F1}" dt="2024-11-12T11:27:25.646" v="1353" actId="478"/>
          <ac:picMkLst>
            <pc:docMk/>
            <pc:sldMk cId="3487738216" sldId="2134806444"/>
            <ac:picMk id="13" creationId="{6905C954-3DCA-C633-5439-060521B6CF8A}"/>
          </ac:picMkLst>
        </pc:picChg>
        <pc:picChg chg="add mod">
          <ac:chgData name="Mohamed Ibissi" userId="90b6f8706c8cb808" providerId="LiveId" clId="{7F1EA6FA-D2B5-47DE-ABEC-8F224979B9F1}" dt="2024-11-12T11:31:36.589" v="1365" actId="1076"/>
          <ac:picMkLst>
            <pc:docMk/>
            <pc:sldMk cId="3487738216" sldId="2134806444"/>
            <ac:picMk id="16" creationId="{07224DB3-CF1F-21AD-15E6-A598AB1517B2}"/>
          </ac:picMkLst>
        </pc:picChg>
      </pc:sldChg>
      <pc:sldChg chg="addSp delSp modSp del mod">
        <pc:chgData name="Mohamed Ibissi" userId="90b6f8706c8cb808" providerId="LiveId" clId="{7F1EA6FA-D2B5-47DE-ABEC-8F224979B9F1}" dt="2024-11-12T11:43:04.457" v="1626" actId="47"/>
        <pc:sldMkLst>
          <pc:docMk/>
          <pc:sldMk cId="541530067" sldId="2134806445"/>
        </pc:sldMkLst>
        <pc:spChg chg="del">
          <ac:chgData name="Mohamed Ibissi" userId="90b6f8706c8cb808" providerId="LiveId" clId="{7F1EA6FA-D2B5-47DE-ABEC-8F224979B9F1}" dt="2024-11-12T06:41:52.500" v="1005" actId="478"/>
          <ac:spMkLst>
            <pc:docMk/>
            <pc:sldMk cId="541530067" sldId="2134806445"/>
            <ac:spMk id="4" creationId="{E84DC3BE-F850-5A0C-1F96-5FBE460E3672}"/>
          </ac:spMkLst>
        </pc:spChg>
        <pc:picChg chg="add del">
          <ac:chgData name="Mohamed Ibissi" userId="90b6f8706c8cb808" providerId="LiveId" clId="{7F1EA6FA-D2B5-47DE-ABEC-8F224979B9F1}" dt="2024-11-12T06:43:39.069" v="1069" actId="478"/>
          <ac:picMkLst>
            <pc:docMk/>
            <pc:sldMk cId="541530067" sldId="2134806445"/>
            <ac:picMk id="3" creationId="{737DBA60-91F6-392E-8FCA-71CD12B6838F}"/>
          </ac:picMkLst>
        </pc:picChg>
        <pc:picChg chg="add mod ord">
          <ac:chgData name="Mohamed Ibissi" userId="90b6f8706c8cb808" providerId="LiveId" clId="{7F1EA6FA-D2B5-47DE-ABEC-8F224979B9F1}" dt="2024-11-12T06:43:42.852" v="1071" actId="167"/>
          <ac:picMkLst>
            <pc:docMk/>
            <pc:sldMk cId="541530067" sldId="2134806445"/>
            <ac:picMk id="5" creationId="{D8E6F04E-554B-843C-5CA6-653C897FA9C0}"/>
          </ac:picMkLst>
        </pc:picChg>
        <pc:picChg chg="del">
          <ac:chgData name="Mohamed Ibissi" userId="90b6f8706c8cb808" providerId="LiveId" clId="{7F1EA6FA-D2B5-47DE-ABEC-8F224979B9F1}" dt="2024-11-12T06:41:44.416" v="1002" actId="478"/>
          <ac:picMkLst>
            <pc:docMk/>
            <pc:sldMk cId="541530067" sldId="2134806445"/>
            <ac:picMk id="8" creationId="{1BD5EADE-22BD-E4E0-3CFF-5003DE2FB8CD}"/>
          </ac:picMkLst>
        </pc:picChg>
      </pc:sldChg>
      <pc:sldChg chg="addSp delSp modSp del mod">
        <pc:chgData name="Mohamed Ibissi" userId="90b6f8706c8cb808" providerId="LiveId" clId="{7F1EA6FA-D2B5-47DE-ABEC-8F224979B9F1}" dt="2024-11-12T11:42:54.296" v="1625" actId="47"/>
        <pc:sldMkLst>
          <pc:docMk/>
          <pc:sldMk cId="4234382696" sldId="2134806446"/>
        </pc:sldMkLst>
        <pc:picChg chg="add mod ord">
          <ac:chgData name="Mohamed Ibissi" userId="90b6f8706c8cb808" providerId="LiveId" clId="{7F1EA6FA-D2B5-47DE-ABEC-8F224979B9F1}" dt="2024-11-12T06:43:53.625" v="1074" actId="167"/>
          <ac:picMkLst>
            <pc:docMk/>
            <pc:sldMk cId="4234382696" sldId="2134806446"/>
            <ac:picMk id="4" creationId="{11220A39-9070-5864-4F89-29529CB3C27C}"/>
          </ac:picMkLst>
        </pc:picChg>
        <pc:picChg chg="del">
          <ac:chgData name="Mohamed Ibissi" userId="90b6f8706c8cb808" providerId="LiveId" clId="{7F1EA6FA-D2B5-47DE-ABEC-8F224979B9F1}" dt="2024-11-12T06:43:49.996" v="1072" actId="478"/>
          <ac:picMkLst>
            <pc:docMk/>
            <pc:sldMk cId="4234382696" sldId="2134806446"/>
            <ac:picMk id="5" creationId="{62975714-AC51-9247-5AFF-F1412BAA236F}"/>
          </ac:picMkLst>
        </pc:picChg>
      </pc:sldChg>
      <pc:sldChg chg="addSp delSp modSp mod delAnim modAnim">
        <pc:chgData name="Mohamed Ibissi" userId="90b6f8706c8cb808" providerId="LiveId" clId="{7F1EA6FA-D2B5-47DE-ABEC-8F224979B9F1}" dt="2024-11-12T12:13:46.606" v="1695"/>
        <pc:sldMkLst>
          <pc:docMk/>
          <pc:sldMk cId="3658453428" sldId="2134806451"/>
        </pc:sldMkLst>
        <pc:spChg chg="del">
          <ac:chgData name="Mohamed Ibissi" userId="90b6f8706c8cb808" providerId="LiveId" clId="{7F1EA6FA-D2B5-47DE-ABEC-8F224979B9F1}" dt="2024-11-12T06:44:06.479" v="1078" actId="478"/>
          <ac:spMkLst>
            <pc:docMk/>
            <pc:sldMk cId="3658453428" sldId="2134806451"/>
            <ac:spMk id="2" creationId="{DCF42B76-2531-CDFA-D704-4AE2877489BD}"/>
          </ac:spMkLst>
        </pc:spChg>
        <pc:spChg chg="mod">
          <ac:chgData name="Mohamed Ibissi" userId="90b6f8706c8cb808" providerId="LiveId" clId="{7F1EA6FA-D2B5-47DE-ABEC-8F224979B9F1}" dt="2024-11-12T11:43:10.180" v="1628" actId="20577"/>
          <ac:spMkLst>
            <pc:docMk/>
            <pc:sldMk cId="3658453428" sldId="2134806451"/>
            <ac:spMk id="3" creationId="{45F594E5-D3FC-33F1-E8E3-E4FB2E0AB674}"/>
          </ac:spMkLst>
        </pc:spChg>
        <pc:spChg chg="del">
          <ac:chgData name="Mohamed Ibissi" userId="90b6f8706c8cb808" providerId="LiveId" clId="{7F1EA6FA-D2B5-47DE-ABEC-8F224979B9F1}" dt="2024-11-12T06:44:06.479" v="1078" actId="478"/>
          <ac:spMkLst>
            <pc:docMk/>
            <pc:sldMk cId="3658453428" sldId="2134806451"/>
            <ac:spMk id="6" creationId="{80240345-E3BD-3247-AF39-4D43DED261FA}"/>
          </ac:spMkLst>
        </pc:spChg>
        <pc:spChg chg="del">
          <ac:chgData name="Mohamed Ibissi" userId="90b6f8706c8cb808" providerId="LiveId" clId="{7F1EA6FA-D2B5-47DE-ABEC-8F224979B9F1}" dt="2024-11-12T06:44:06.479" v="1078" actId="478"/>
          <ac:spMkLst>
            <pc:docMk/>
            <pc:sldMk cId="3658453428" sldId="2134806451"/>
            <ac:spMk id="7" creationId="{3F861985-E7BB-00D0-8D10-82BC66412146}"/>
          </ac:spMkLst>
        </pc:spChg>
        <pc:spChg chg="add mod">
          <ac:chgData name="Mohamed Ibissi" userId="90b6f8706c8cb808" providerId="LiveId" clId="{7F1EA6FA-D2B5-47DE-ABEC-8F224979B9F1}" dt="2024-11-12T12:12:20.632" v="1670" actId="207"/>
          <ac:spMkLst>
            <pc:docMk/>
            <pc:sldMk cId="3658453428" sldId="2134806451"/>
            <ac:spMk id="11" creationId="{8C55E869-9B03-1CAD-968D-90842511BEF5}"/>
          </ac:spMkLst>
        </pc:spChg>
        <pc:spChg chg="add mod">
          <ac:chgData name="Mohamed Ibissi" userId="90b6f8706c8cb808" providerId="LiveId" clId="{7F1EA6FA-D2B5-47DE-ABEC-8F224979B9F1}" dt="2024-11-12T12:12:39.659" v="1676" actId="1038"/>
          <ac:spMkLst>
            <pc:docMk/>
            <pc:sldMk cId="3658453428" sldId="2134806451"/>
            <ac:spMk id="12" creationId="{D21C04D3-D91B-7F65-130F-05D9D7111086}"/>
          </ac:spMkLst>
        </pc:spChg>
        <pc:spChg chg="add mod">
          <ac:chgData name="Mohamed Ibissi" userId="90b6f8706c8cb808" providerId="LiveId" clId="{7F1EA6FA-D2B5-47DE-ABEC-8F224979B9F1}" dt="2024-11-12T12:12:50.795" v="1681" actId="1035"/>
          <ac:spMkLst>
            <pc:docMk/>
            <pc:sldMk cId="3658453428" sldId="2134806451"/>
            <ac:spMk id="13" creationId="{55BE6F4D-E704-B6C0-1B2C-12AF9E198E69}"/>
          </ac:spMkLst>
        </pc:spChg>
        <pc:spChg chg="add mod">
          <ac:chgData name="Mohamed Ibissi" userId="90b6f8706c8cb808" providerId="LiveId" clId="{7F1EA6FA-D2B5-47DE-ABEC-8F224979B9F1}" dt="2024-11-12T12:13:07.526" v="1687" actId="1038"/>
          <ac:spMkLst>
            <pc:docMk/>
            <pc:sldMk cId="3658453428" sldId="2134806451"/>
            <ac:spMk id="14" creationId="{2DBCB6D8-C146-1D4B-7E2B-2BB491E85253}"/>
          </ac:spMkLst>
        </pc:spChg>
        <pc:picChg chg="add mod ord">
          <ac:chgData name="Mohamed Ibissi" userId="90b6f8706c8cb808" providerId="LiveId" clId="{7F1EA6FA-D2B5-47DE-ABEC-8F224979B9F1}" dt="2024-11-12T06:44:02.037" v="1077" actId="167"/>
          <ac:picMkLst>
            <pc:docMk/>
            <pc:sldMk cId="3658453428" sldId="2134806451"/>
            <ac:picMk id="4" creationId="{F3D2CACA-F474-80F5-6748-46BA4F8D6B33}"/>
          </ac:picMkLst>
        </pc:picChg>
        <pc:picChg chg="del">
          <ac:chgData name="Mohamed Ibissi" userId="90b6f8706c8cb808" providerId="LiveId" clId="{7F1EA6FA-D2B5-47DE-ABEC-8F224979B9F1}" dt="2024-11-12T06:44:06.479" v="1078" actId="478"/>
          <ac:picMkLst>
            <pc:docMk/>
            <pc:sldMk cId="3658453428" sldId="2134806451"/>
            <ac:picMk id="5" creationId="{616F512A-735F-6B8E-AF92-E48B6492C204}"/>
          </ac:picMkLst>
        </pc:picChg>
        <pc:picChg chg="del">
          <ac:chgData name="Mohamed Ibissi" userId="90b6f8706c8cb808" providerId="LiveId" clId="{7F1EA6FA-D2B5-47DE-ABEC-8F224979B9F1}" dt="2024-11-12T06:43:58.113" v="1075" actId="478"/>
          <ac:picMkLst>
            <pc:docMk/>
            <pc:sldMk cId="3658453428" sldId="2134806451"/>
            <ac:picMk id="8" creationId="{FF2E7F73-2BD5-A8B6-E6EC-DF1600094CC6}"/>
          </ac:picMkLst>
        </pc:picChg>
        <pc:picChg chg="add mod">
          <ac:chgData name="Mohamed Ibissi" userId="90b6f8706c8cb808" providerId="LiveId" clId="{7F1EA6FA-D2B5-47DE-ABEC-8F224979B9F1}" dt="2024-11-12T11:43:22.205" v="1629"/>
          <ac:picMkLst>
            <pc:docMk/>
            <pc:sldMk cId="3658453428" sldId="2134806451"/>
            <ac:picMk id="10" creationId="{7440F40B-E45A-631F-975D-C9C40C159334}"/>
          </ac:picMkLst>
        </pc:picChg>
      </pc:sldChg>
      <pc:sldChg chg="del">
        <pc:chgData name="Mohamed Ibissi" userId="90b6f8706c8cb808" providerId="LiveId" clId="{7F1EA6FA-D2B5-47DE-ABEC-8F224979B9F1}" dt="2024-11-12T06:42:28.368" v="1023" actId="47"/>
        <pc:sldMkLst>
          <pc:docMk/>
          <pc:sldMk cId="1392427934" sldId="2134806453"/>
        </pc:sldMkLst>
      </pc:sldChg>
      <pc:sldChg chg="del">
        <pc:chgData name="Mohamed Ibissi" userId="90b6f8706c8cb808" providerId="LiveId" clId="{7F1EA6FA-D2B5-47DE-ABEC-8F224979B9F1}" dt="2024-11-12T06:42:29.025" v="1026" actId="47"/>
        <pc:sldMkLst>
          <pc:docMk/>
          <pc:sldMk cId="1037867952" sldId="2134806458"/>
        </pc:sldMkLst>
      </pc:sldChg>
      <pc:sldChg chg="del">
        <pc:chgData name="Mohamed Ibissi" userId="90b6f8706c8cb808" providerId="LiveId" clId="{7F1EA6FA-D2B5-47DE-ABEC-8F224979B9F1}" dt="2024-11-12T06:42:30.854" v="1027" actId="47"/>
        <pc:sldMkLst>
          <pc:docMk/>
          <pc:sldMk cId="1231704022" sldId="2134806459"/>
        </pc:sldMkLst>
      </pc:sldChg>
      <pc:sldChg chg="del">
        <pc:chgData name="Mohamed Ibissi" userId="90b6f8706c8cb808" providerId="LiveId" clId="{7F1EA6FA-D2B5-47DE-ABEC-8F224979B9F1}" dt="2024-11-12T06:42:31.104" v="1028" actId="47"/>
        <pc:sldMkLst>
          <pc:docMk/>
          <pc:sldMk cId="2227613998" sldId="2134806462"/>
        </pc:sldMkLst>
      </pc:sldChg>
      <pc:sldChg chg="del">
        <pc:chgData name="Mohamed Ibissi" userId="90b6f8706c8cb808" providerId="LiveId" clId="{7F1EA6FA-D2B5-47DE-ABEC-8F224979B9F1}" dt="2024-11-12T06:42:31.338" v="1029" actId="47"/>
        <pc:sldMkLst>
          <pc:docMk/>
          <pc:sldMk cId="2453061601" sldId="2134806463"/>
        </pc:sldMkLst>
      </pc:sldChg>
      <pc:sldChg chg="del">
        <pc:chgData name="Mohamed Ibissi" userId="90b6f8706c8cb808" providerId="LiveId" clId="{7F1EA6FA-D2B5-47DE-ABEC-8F224979B9F1}" dt="2024-11-12T06:42:43.923" v="1058" actId="47"/>
        <pc:sldMkLst>
          <pc:docMk/>
          <pc:sldMk cId="1402262612" sldId="2134806475"/>
        </pc:sldMkLst>
      </pc:sldChg>
      <pc:sldChg chg="del">
        <pc:chgData name="Mohamed Ibissi" userId="90b6f8706c8cb808" providerId="LiveId" clId="{7F1EA6FA-D2B5-47DE-ABEC-8F224979B9F1}" dt="2024-11-12T06:42:31.573" v="1030" actId="47"/>
        <pc:sldMkLst>
          <pc:docMk/>
          <pc:sldMk cId="3334976781" sldId="2134806477"/>
        </pc:sldMkLst>
      </pc:sldChg>
      <pc:sldChg chg="del">
        <pc:chgData name="Mohamed Ibissi" userId="90b6f8706c8cb808" providerId="LiveId" clId="{7F1EA6FA-D2B5-47DE-ABEC-8F224979B9F1}" dt="2024-11-12T06:42:44.673" v="1059" actId="47"/>
        <pc:sldMkLst>
          <pc:docMk/>
          <pc:sldMk cId="2994503641" sldId="2134806489"/>
        </pc:sldMkLst>
      </pc:sldChg>
      <pc:sldChg chg="addSp delSp modSp add del mod delAnim">
        <pc:chgData name="Mohamed Ibissi" userId="90b6f8706c8cb808" providerId="LiveId" clId="{7F1EA6FA-D2B5-47DE-ABEC-8F224979B9F1}" dt="2024-11-12T12:14:05.163" v="1696" actId="47"/>
        <pc:sldMkLst>
          <pc:docMk/>
          <pc:sldMk cId="2739923162" sldId="2134806494"/>
        </pc:sldMkLst>
        <pc:picChg chg="add mod ord">
          <ac:chgData name="Mohamed Ibissi" userId="90b6f8706c8cb808" providerId="LiveId" clId="{7F1EA6FA-D2B5-47DE-ABEC-8F224979B9F1}" dt="2024-11-12T06:44:36.512" v="1082" actId="167"/>
          <ac:picMkLst>
            <pc:docMk/>
            <pc:sldMk cId="2739923162" sldId="2134806494"/>
            <ac:picMk id="2" creationId="{E676E590-20FE-4586-EC65-41EADE9C5E76}"/>
          </ac:picMkLst>
        </pc:picChg>
        <pc:picChg chg="del">
          <ac:chgData name="Mohamed Ibissi" userId="90b6f8706c8cb808" providerId="LiveId" clId="{7F1EA6FA-D2B5-47DE-ABEC-8F224979B9F1}" dt="2024-11-12T06:44:18.314" v="1079" actId="478"/>
          <ac:picMkLst>
            <pc:docMk/>
            <pc:sldMk cId="2739923162" sldId="2134806494"/>
            <ac:picMk id="27" creationId="{B3A7583F-BF35-5398-B652-CBF795758169}"/>
          </ac:picMkLst>
        </pc:picChg>
        <pc:picChg chg="del">
          <ac:chgData name="Mohamed Ibissi" userId="90b6f8706c8cb808" providerId="LiveId" clId="{7F1EA6FA-D2B5-47DE-ABEC-8F224979B9F1}" dt="2024-11-12T06:44:18.314" v="1079" actId="478"/>
          <ac:picMkLst>
            <pc:docMk/>
            <pc:sldMk cId="2739923162" sldId="2134806494"/>
            <ac:picMk id="45" creationId="{30863253-5444-3107-1FFB-A43962D4C133}"/>
          </ac:picMkLst>
        </pc:picChg>
        <pc:picChg chg="del">
          <ac:chgData name="Mohamed Ibissi" userId="90b6f8706c8cb808" providerId="LiveId" clId="{7F1EA6FA-D2B5-47DE-ABEC-8F224979B9F1}" dt="2024-11-12T06:44:33.042" v="1080" actId="478"/>
          <ac:picMkLst>
            <pc:docMk/>
            <pc:sldMk cId="2739923162" sldId="2134806494"/>
            <ac:picMk id="46" creationId="{557B3F5A-5A38-912A-908C-9275BA2E1945}"/>
          </ac:picMkLst>
        </pc:picChg>
        <pc:cxnChg chg="del">
          <ac:chgData name="Mohamed Ibissi" userId="90b6f8706c8cb808" providerId="LiveId" clId="{7F1EA6FA-D2B5-47DE-ABEC-8F224979B9F1}" dt="2024-11-12T06:44:18.314" v="1079" actId="478"/>
          <ac:cxnSpMkLst>
            <pc:docMk/>
            <pc:sldMk cId="2739923162" sldId="2134806494"/>
            <ac:cxnSpMk id="3" creationId="{C146A5BA-9992-73C6-9487-40682ABA2EDE}"/>
          </ac:cxnSpMkLst>
        </pc:cxnChg>
      </pc:sldChg>
      <pc:sldChg chg="addSp delSp modSp add del mod">
        <pc:chgData name="Mohamed Ibissi" userId="90b6f8706c8cb808" providerId="LiveId" clId="{7F1EA6FA-D2B5-47DE-ABEC-8F224979B9F1}" dt="2024-11-12T20:07:17.151" v="2494" actId="14826"/>
        <pc:sldMkLst>
          <pc:docMk/>
          <pc:sldMk cId="3765465306" sldId="2134806495"/>
        </pc:sldMkLst>
        <pc:spChg chg="mod">
          <ac:chgData name="Mohamed Ibissi" userId="90b6f8706c8cb808" providerId="LiveId" clId="{7F1EA6FA-D2B5-47DE-ABEC-8F224979B9F1}" dt="2024-11-12T12:14:30.378" v="1715" actId="20577"/>
          <ac:spMkLst>
            <pc:docMk/>
            <pc:sldMk cId="3765465306" sldId="2134806495"/>
            <ac:spMk id="4" creationId="{2847F445-0034-73EA-7EC6-54999794235D}"/>
          </ac:spMkLst>
        </pc:spChg>
        <pc:picChg chg="mod">
          <ac:chgData name="Mohamed Ibissi" userId="90b6f8706c8cb808" providerId="LiveId" clId="{7F1EA6FA-D2B5-47DE-ABEC-8F224979B9F1}" dt="2024-11-12T20:06:43.208" v="2493" actId="14826"/>
          <ac:picMkLst>
            <pc:docMk/>
            <pc:sldMk cId="3765465306" sldId="2134806495"/>
            <ac:picMk id="2" creationId="{C94827C3-2196-10E3-BA9C-D08BAEE2EB4A}"/>
          </ac:picMkLst>
        </pc:picChg>
        <pc:picChg chg="mod">
          <ac:chgData name="Mohamed Ibissi" userId="90b6f8706c8cb808" providerId="LiveId" clId="{7F1EA6FA-D2B5-47DE-ABEC-8F224979B9F1}" dt="2024-11-12T20:07:17.151" v="2494" actId="14826"/>
          <ac:picMkLst>
            <pc:docMk/>
            <pc:sldMk cId="3765465306" sldId="2134806495"/>
            <ac:picMk id="3" creationId="{66038B6C-AD40-09D6-B303-B619550392AA}"/>
          </ac:picMkLst>
        </pc:picChg>
        <pc:picChg chg="del">
          <ac:chgData name="Mohamed Ibissi" userId="90b6f8706c8cb808" providerId="LiveId" clId="{7F1EA6FA-D2B5-47DE-ABEC-8F224979B9F1}" dt="2024-11-12T06:44:45.220" v="1083" actId="478"/>
          <ac:picMkLst>
            <pc:docMk/>
            <pc:sldMk cId="3765465306" sldId="2134806495"/>
            <ac:picMk id="5" creationId="{BC688830-5F78-3F6A-07FF-25D26CF9B726}"/>
          </ac:picMkLst>
        </pc:picChg>
        <pc:picChg chg="add mod ord">
          <ac:chgData name="Mohamed Ibissi" userId="90b6f8706c8cb808" providerId="LiveId" clId="{7F1EA6FA-D2B5-47DE-ABEC-8F224979B9F1}" dt="2024-11-12T06:44:52.568" v="1085" actId="167"/>
          <ac:picMkLst>
            <pc:docMk/>
            <pc:sldMk cId="3765465306" sldId="2134806495"/>
            <ac:picMk id="6" creationId="{D3107F2A-698F-8FB0-703C-2A21172BFF71}"/>
          </ac:picMkLst>
        </pc:picChg>
      </pc:sldChg>
      <pc:sldChg chg="addSp delSp modSp mod">
        <pc:chgData name="Mohamed Ibissi" userId="90b6f8706c8cb808" providerId="LiveId" clId="{7F1EA6FA-D2B5-47DE-ABEC-8F224979B9F1}" dt="2024-11-12T06:45:01.388" v="1088" actId="167"/>
        <pc:sldMkLst>
          <pc:docMk/>
          <pc:sldMk cId="2195612703" sldId="2134806496"/>
        </pc:sldMkLst>
        <pc:picChg chg="del">
          <ac:chgData name="Mohamed Ibissi" userId="90b6f8706c8cb808" providerId="LiveId" clId="{7F1EA6FA-D2B5-47DE-ABEC-8F224979B9F1}" dt="2024-11-12T06:44:56.839" v="1086" actId="478"/>
          <ac:picMkLst>
            <pc:docMk/>
            <pc:sldMk cId="2195612703" sldId="2134806496"/>
            <ac:picMk id="2" creationId="{50FB4FDB-0E10-AA0C-6037-044F45C4FB77}"/>
          </ac:picMkLst>
        </pc:picChg>
        <pc:picChg chg="add mod ord">
          <ac:chgData name="Mohamed Ibissi" userId="90b6f8706c8cb808" providerId="LiveId" clId="{7F1EA6FA-D2B5-47DE-ABEC-8F224979B9F1}" dt="2024-11-12T06:45:01.388" v="1088" actId="167"/>
          <ac:picMkLst>
            <pc:docMk/>
            <pc:sldMk cId="2195612703" sldId="2134806496"/>
            <ac:picMk id="3" creationId="{A5AE1BF7-7CB0-8F8B-C402-D74D73E95F35}"/>
          </ac:picMkLst>
        </pc:picChg>
      </pc:sldChg>
      <pc:sldChg chg="addSp delSp modSp mod ord">
        <pc:chgData name="Mohamed Ibissi" userId="90b6f8706c8cb808" providerId="LiveId" clId="{7F1EA6FA-D2B5-47DE-ABEC-8F224979B9F1}" dt="2024-11-12T11:21:26.912" v="1306" actId="20577"/>
        <pc:sldMkLst>
          <pc:docMk/>
          <pc:sldMk cId="1369903470" sldId="2134806497"/>
        </pc:sldMkLst>
        <pc:spChg chg="mod">
          <ac:chgData name="Mohamed Ibissi" userId="90b6f8706c8cb808" providerId="LiveId" clId="{7F1EA6FA-D2B5-47DE-ABEC-8F224979B9F1}" dt="2024-11-12T11:21:26.912" v="1306" actId="20577"/>
          <ac:spMkLst>
            <pc:docMk/>
            <pc:sldMk cId="1369903470" sldId="2134806497"/>
            <ac:spMk id="4" creationId="{CE09179B-12C1-E5AB-2BDA-EE74D4D11A1B}"/>
          </ac:spMkLst>
        </pc:spChg>
        <pc:spChg chg="add mod">
          <ac:chgData name="Mohamed Ibissi" userId="90b6f8706c8cb808" providerId="LiveId" clId="{7F1EA6FA-D2B5-47DE-ABEC-8F224979B9F1}" dt="2024-11-12T11:19:05.579" v="1250" actId="1037"/>
          <ac:spMkLst>
            <pc:docMk/>
            <pc:sldMk cId="1369903470" sldId="2134806497"/>
            <ac:spMk id="7" creationId="{60C9992A-E564-82B7-C50D-27C346C6CF93}"/>
          </ac:spMkLst>
        </pc:spChg>
        <pc:spChg chg="mod">
          <ac:chgData name="Mohamed Ibissi" userId="90b6f8706c8cb808" providerId="LiveId" clId="{7F1EA6FA-D2B5-47DE-ABEC-8F224979B9F1}" dt="2024-11-12T11:19:05.579" v="1250" actId="1037"/>
          <ac:spMkLst>
            <pc:docMk/>
            <pc:sldMk cId="1369903470" sldId="2134806497"/>
            <ac:spMk id="8" creationId="{55618918-9777-A21B-0BCD-03B83178CBFA}"/>
          </ac:spMkLst>
        </pc:spChg>
        <pc:spChg chg="mod">
          <ac:chgData name="Mohamed Ibissi" userId="90b6f8706c8cb808" providerId="LiveId" clId="{7F1EA6FA-D2B5-47DE-ABEC-8F224979B9F1}" dt="2024-11-12T11:19:05.579" v="1250" actId="1037"/>
          <ac:spMkLst>
            <pc:docMk/>
            <pc:sldMk cId="1369903470" sldId="2134806497"/>
            <ac:spMk id="9" creationId="{EBDE4094-2C57-7196-CDB9-105B7E4041B7}"/>
          </ac:spMkLst>
        </pc:spChg>
        <pc:spChg chg="del">
          <ac:chgData name="Mohamed Ibissi" userId="90b6f8706c8cb808" providerId="LiveId" clId="{7F1EA6FA-D2B5-47DE-ABEC-8F224979B9F1}" dt="2024-11-12T05:46:21.926" v="313" actId="478"/>
          <ac:spMkLst>
            <pc:docMk/>
            <pc:sldMk cId="1369903470" sldId="2134806497"/>
            <ac:spMk id="14" creationId="{5874B16D-0CBC-8597-DDD6-B241A0C7904E}"/>
          </ac:spMkLst>
        </pc:spChg>
        <pc:spChg chg="del">
          <ac:chgData name="Mohamed Ibissi" userId="90b6f8706c8cb808" providerId="LiveId" clId="{7F1EA6FA-D2B5-47DE-ABEC-8F224979B9F1}" dt="2024-11-12T05:46:21.926" v="313" actId="478"/>
          <ac:spMkLst>
            <pc:docMk/>
            <pc:sldMk cId="1369903470" sldId="2134806497"/>
            <ac:spMk id="15" creationId="{A033ACBB-0612-EFC5-2C22-073048580173}"/>
          </ac:spMkLst>
        </pc:spChg>
        <pc:picChg chg="add mod ord">
          <ac:chgData name="Mohamed Ibissi" userId="90b6f8706c8cb808" providerId="LiveId" clId="{7F1EA6FA-D2B5-47DE-ABEC-8F224979B9F1}" dt="2024-11-12T06:32:09.843" v="932" actId="167"/>
          <ac:picMkLst>
            <pc:docMk/>
            <pc:sldMk cId="1369903470" sldId="2134806497"/>
            <ac:picMk id="2" creationId="{A7B38646-8A1C-6DB2-C2A3-260BA00B10DF}"/>
          </ac:picMkLst>
        </pc:picChg>
        <pc:picChg chg="mod">
          <ac:chgData name="Mohamed Ibissi" userId="90b6f8706c8cb808" providerId="LiveId" clId="{7F1EA6FA-D2B5-47DE-ABEC-8F224979B9F1}" dt="2024-11-12T11:19:05.579" v="1250" actId="1037"/>
          <ac:picMkLst>
            <pc:docMk/>
            <pc:sldMk cId="1369903470" sldId="2134806497"/>
            <ac:picMk id="3" creationId="{53A01777-B08B-DCC1-B6FF-46387FECC8AA}"/>
          </ac:picMkLst>
        </pc:picChg>
        <pc:picChg chg="del mod">
          <ac:chgData name="Mohamed Ibissi" userId="90b6f8706c8cb808" providerId="LiveId" clId="{7F1EA6FA-D2B5-47DE-ABEC-8F224979B9F1}" dt="2024-11-12T06:32:04.839" v="930" actId="478"/>
          <ac:picMkLst>
            <pc:docMk/>
            <pc:sldMk cId="1369903470" sldId="2134806497"/>
            <ac:picMk id="5" creationId="{90BE3E36-9B34-B7CD-BFF3-C78A5751426F}"/>
          </ac:picMkLst>
        </pc:picChg>
        <pc:picChg chg="add mod">
          <ac:chgData name="Mohamed Ibissi" userId="90b6f8706c8cb808" providerId="LiveId" clId="{7F1EA6FA-D2B5-47DE-ABEC-8F224979B9F1}" dt="2024-11-12T11:19:05.579" v="1250" actId="1037"/>
          <ac:picMkLst>
            <pc:docMk/>
            <pc:sldMk cId="1369903470" sldId="2134806497"/>
            <ac:picMk id="6" creationId="{0A770396-9F77-8B2C-48DB-4E5321BE1951}"/>
          </ac:picMkLst>
        </pc:picChg>
        <pc:picChg chg="del">
          <ac:chgData name="Mohamed Ibissi" userId="90b6f8706c8cb808" providerId="LiveId" clId="{7F1EA6FA-D2B5-47DE-ABEC-8F224979B9F1}" dt="2024-11-12T05:46:21.926" v="313" actId="478"/>
          <ac:picMkLst>
            <pc:docMk/>
            <pc:sldMk cId="1369903470" sldId="2134806497"/>
            <ac:picMk id="13" creationId="{6461A5A5-AE60-3B54-1A8A-3A8DF630013E}"/>
          </ac:picMkLst>
        </pc:picChg>
        <pc:picChg chg="del">
          <ac:chgData name="Mohamed Ibissi" userId="90b6f8706c8cb808" providerId="LiveId" clId="{7F1EA6FA-D2B5-47DE-ABEC-8F224979B9F1}" dt="2024-11-12T05:46:21.926" v="313" actId="478"/>
          <ac:picMkLst>
            <pc:docMk/>
            <pc:sldMk cId="1369903470" sldId="2134806497"/>
            <ac:picMk id="16" creationId="{2EB2A14A-31E1-A88E-5237-66FA0BB405C0}"/>
          </ac:picMkLst>
        </pc:picChg>
        <pc:picChg chg="del">
          <ac:chgData name="Mohamed Ibissi" userId="90b6f8706c8cb808" providerId="LiveId" clId="{7F1EA6FA-D2B5-47DE-ABEC-8F224979B9F1}" dt="2024-11-12T05:46:21.926" v="313" actId="478"/>
          <ac:picMkLst>
            <pc:docMk/>
            <pc:sldMk cId="1369903470" sldId="2134806497"/>
            <ac:picMk id="17" creationId="{05E21198-79E7-86E6-C58A-45E8890366A9}"/>
          </ac:picMkLst>
        </pc:picChg>
        <pc:picChg chg="mod">
          <ac:chgData name="Mohamed Ibissi" userId="90b6f8706c8cb808" providerId="LiveId" clId="{7F1EA6FA-D2B5-47DE-ABEC-8F224979B9F1}" dt="2024-11-12T11:19:05.579" v="1250" actId="1037"/>
          <ac:picMkLst>
            <pc:docMk/>
            <pc:sldMk cId="1369903470" sldId="2134806497"/>
            <ac:picMk id="27" creationId="{CC0B3418-6F43-A1EE-0FB7-F0D1D1E658F9}"/>
          </ac:picMkLst>
        </pc:picChg>
      </pc:sldChg>
      <pc:sldChg chg="del">
        <pc:chgData name="Mohamed Ibissi" userId="90b6f8706c8cb808" providerId="LiveId" clId="{7F1EA6FA-D2B5-47DE-ABEC-8F224979B9F1}" dt="2024-11-12T06:41:14.482" v="990" actId="47"/>
        <pc:sldMkLst>
          <pc:docMk/>
          <pc:sldMk cId="1032254226" sldId="2134806501"/>
        </pc:sldMkLst>
      </pc:sldChg>
      <pc:sldChg chg="del">
        <pc:chgData name="Mohamed Ibissi" userId="90b6f8706c8cb808" providerId="LiveId" clId="{7F1EA6FA-D2B5-47DE-ABEC-8F224979B9F1}" dt="2024-11-12T06:42:25.773" v="1016" actId="47"/>
        <pc:sldMkLst>
          <pc:docMk/>
          <pc:sldMk cId="3343618189" sldId="2134806533"/>
        </pc:sldMkLst>
      </pc:sldChg>
      <pc:sldChg chg="del">
        <pc:chgData name="Mohamed Ibissi" userId="90b6f8706c8cb808" providerId="LiveId" clId="{7F1EA6FA-D2B5-47DE-ABEC-8F224979B9F1}" dt="2024-11-12T06:42:28.634" v="1024" actId="47"/>
        <pc:sldMkLst>
          <pc:docMk/>
          <pc:sldMk cId="3949016510" sldId="2134806540"/>
        </pc:sldMkLst>
      </pc:sldChg>
      <pc:sldChg chg="del">
        <pc:chgData name="Mohamed Ibissi" userId="90b6f8706c8cb808" providerId="LiveId" clId="{7F1EA6FA-D2B5-47DE-ABEC-8F224979B9F1}" dt="2024-11-12T06:42:31.792" v="1031" actId="47"/>
        <pc:sldMkLst>
          <pc:docMk/>
          <pc:sldMk cId="398417903" sldId="2134806545"/>
        </pc:sldMkLst>
      </pc:sldChg>
      <pc:sldChg chg="del">
        <pc:chgData name="Mohamed Ibissi" userId="90b6f8706c8cb808" providerId="LiveId" clId="{7F1EA6FA-D2B5-47DE-ABEC-8F224979B9F1}" dt="2024-11-12T06:42:32.027" v="1032" actId="47"/>
        <pc:sldMkLst>
          <pc:docMk/>
          <pc:sldMk cId="3629360349" sldId="2134806546"/>
        </pc:sldMkLst>
      </pc:sldChg>
      <pc:sldChg chg="addSp delSp modSp mod">
        <pc:chgData name="Mohamed Ibissi" userId="90b6f8706c8cb808" providerId="LiveId" clId="{7F1EA6FA-D2B5-47DE-ABEC-8F224979B9F1}" dt="2024-11-12T11:11:42.274" v="1091" actId="1076"/>
        <pc:sldMkLst>
          <pc:docMk/>
          <pc:sldMk cId="3639806654" sldId="2134806570"/>
        </pc:sldMkLst>
        <pc:spChg chg="mod">
          <ac:chgData name="Mohamed Ibissi" userId="90b6f8706c8cb808" providerId="LiveId" clId="{7F1EA6FA-D2B5-47DE-ABEC-8F224979B9F1}" dt="2024-11-12T05:51:28.657" v="399" actId="20577"/>
          <ac:spMkLst>
            <pc:docMk/>
            <pc:sldMk cId="3639806654" sldId="2134806570"/>
            <ac:spMk id="3" creationId="{FCCA8853-BF7D-82E3-B949-6D92483E118F}"/>
          </ac:spMkLst>
        </pc:spChg>
        <pc:picChg chg="del">
          <ac:chgData name="Mohamed Ibissi" userId="90b6f8706c8cb808" providerId="LiveId" clId="{7F1EA6FA-D2B5-47DE-ABEC-8F224979B9F1}" dt="2024-11-12T06:32:16.709" v="933" actId="478"/>
          <ac:picMkLst>
            <pc:docMk/>
            <pc:sldMk cId="3639806654" sldId="2134806570"/>
            <ac:picMk id="2" creationId="{B70DDBFB-155C-9D63-6B11-10C4544C4126}"/>
          </ac:picMkLst>
        </pc:picChg>
        <pc:picChg chg="del">
          <ac:chgData name="Mohamed Ibissi" userId="90b6f8706c8cb808" providerId="LiveId" clId="{7F1EA6FA-D2B5-47DE-ABEC-8F224979B9F1}" dt="2024-11-12T05:49:42.598" v="356" actId="478"/>
          <ac:picMkLst>
            <pc:docMk/>
            <pc:sldMk cId="3639806654" sldId="2134806570"/>
            <ac:picMk id="5" creationId="{5A6F770A-DB07-7D2C-3BB2-41D838535BC6}"/>
          </ac:picMkLst>
        </pc:picChg>
        <pc:picChg chg="add mod">
          <ac:chgData name="Mohamed Ibissi" userId="90b6f8706c8cb808" providerId="LiveId" clId="{7F1EA6FA-D2B5-47DE-ABEC-8F224979B9F1}" dt="2024-11-12T11:11:42.274" v="1091" actId="1076"/>
          <ac:picMkLst>
            <pc:docMk/>
            <pc:sldMk cId="3639806654" sldId="2134806570"/>
            <ac:picMk id="6" creationId="{2F429BA7-5383-C4E6-6EFB-E452CEC92347}"/>
          </ac:picMkLst>
        </pc:picChg>
        <pc:picChg chg="add mod ord">
          <ac:chgData name="Mohamed Ibissi" userId="90b6f8706c8cb808" providerId="LiveId" clId="{7F1EA6FA-D2B5-47DE-ABEC-8F224979B9F1}" dt="2024-11-12T06:32:20.212" v="935" actId="167"/>
          <ac:picMkLst>
            <pc:docMk/>
            <pc:sldMk cId="3639806654" sldId="2134806570"/>
            <ac:picMk id="7" creationId="{E4B56BF4-7141-8FD6-481A-CFE18E39D301}"/>
          </ac:picMkLst>
        </pc:picChg>
      </pc:sldChg>
      <pc:sldChg chg="del">
        <pc:chgData name="Mohamed Ibissi" userId="90b6f8706c8cb808" providerId="LiveId" clId="{7F1EA6FA-D2B5-47DE-ABEC-8F224979B9F1}" dt="2024-11-12T05:49:09.128" v="350" actId="47"/>
        <pc:sldMkLst>
          <pc:docMk/>
          <pc:sldMk cId="1099202900" sldId="2134806571"/>
        </pc:sldMkLst>
      </pc:sldChg>
      <pc:sldChg chg="del">
        <pc:chgData name="Mohamed Ibissi" userId="90b6f8706c8cb808" providerId="LiveId" clId="{7F1EA6FA-D2B5-47DE-ABEC-8F224979B9F1}" dt="2024-11-12T05:49:10.004" v="351" actId="47"/>
        <pc:sldMkLst>
          <pc:docMk/>
          <pc:sldMk cId="1979342813" sldId="2134806572"/>
        </pc:sldMkLst>
      </pc:sldChg>
      <pc:sldChg chg="del">
        <pc:chgData name="Mohamed Ibissi" userId="90b6f8706c8cb808" providerId="LiveId" clId="{7F1EA6FA-D2B5-47DE-ABEC-8F224979B9F1}" dt="2024-11-12T06:40:43.709" v="981" actId="47"/>
        <pc:sldMkLst>
          <pc:docMk/>
          <pc:sldMk cId="1002351891" sldId="2134806581"/>
        </pc:sldMkLst>
      </pc:sldChg>
      <pc:sldChg chg="del">
        <pc:chgData name="Mohamed Ibissi" userId="90b6f8706c8cb808" providerId="LiveId" clId="{7F1EA6FA-D2B5-47DE-ABEC-8F224979B9F1}" dt="2024-11-12T06:40:39.909" v="980" actId="47"/>
        <pc:sldMkLst>
          <pc:docMk/>
          <pc:sldMk cId="860299039" sldId="2134806582"/>
        </pc:sldMkLst>
      </pc:sldChg>
      <pc:sldChg chg="del">
        <pc:chgData name="Mohamed Ibissi" userId="90b6f8706c8cb808" providerId="LiveId" clId="{7F1EA6FA-D2B5-47DE-ABEC-8F224979B9F1}" dt="2024-11-12T06:40:39.909" v="980" actId="47"/>
        <pc:sldMkLst>
          <pc:docMk/>
          <pc:sldMk cId="3525069982" sldId="2134806583"/>
        </pc:sldMkLst>
      </pc:sldChg>
      <pc:sldChg chg="del">
        <pc:chgData name="Mohamed Ibissi" userId="90b6f8706c8cb808" providerId="LiveId" clId="{7F1EA6FA-D2B5-47DE-ABEC-8F224979B9F1}" dt="2024-11-12T06:40:51.399" v="982" actId="47"/>
        <pc:sldMkLst>
          <pc:docMk/>
          <pc:sldMk cId="349985760" sldId="2134806584"/>
        </pc:sldMkLst>
      </pc:sldChg>
      <pc:sldChg chg="del">
        <pc:chgData name="Mohamed Ibissi" userId="90b6f8706c8cb808" providerId="LiveId" clId="{7F1EA6FA-D2B5-47DE-ABEC-8F224979B9F1}" dt="2024-11-12T06:40:59.394" v="983" actId="47"/>
        <pc:sldMkLst>
          <pc:docMk/>
          <pc:sldMk cId="1338860684" sldId="2134806585"/>
        </pc:sldMkLst>
      </pc:sldChg>
      <pc:sldChg chg="del">
        <pc:chgData name="Mohamed Ibissi" userId="90b6f8706c8cb808" providerId="LiveId" clId="{7F1EA6FA-D2B5-47DE-ABEC-8F224979B9F1}" dt="2024-11-12T06:41:00.395" v="984" actId="47"/>
        <pc:sldMkLst>
          <pc:docMk/>
          <pc:sldMk cId="664354076" sldId="2134806586"/>
        </pc:sldMkLst>
      </pc:sldChg>
      <pc:sldChg chg="del">
        <pc:chgData name="Mohamed Ibissi" userId="90b6f8706c8cb808" providerId="LiveId" clId="{7F1EA6FA-D2B5-47DE-ABEC-8F224979B9F1}" dt="2024-11-12T06:41:37.895" v="1001" actId="47"/>
        <pc:sldMkLst>
          <pc:docMk/>
          <pc:sldMk cId="3495997754" sldId="2134806587"/>
        </pc:sldMkLst>
      </pc:sldChg>
      <pc:sldChg chg="del">
        <pc:chgData name="Mohamed Ibissi" userId="90b6f8706c8cb808" providerId="LiveId" clId="{7F1EA6FA-D2B5-47DE-ABEC-8F224979B9F1}" dt="2024-11-12T06:41:10.667" v="985" actId="47"/>
        <pc:sldMkLst>
          <pc:docMk/>
          <pc:sldMk cId="607332811" sldId="2134806588"/>
        </pc:sldMkLst>
      </pc:sldChg>
      <pc:sldChg chg="del">
        <pc:chgData name="Mohamed Ibissi" userId="90b6f8706c8cb808" providerId="LiveId" clId="{7F1EA6FA-D2B5-47DE-ABEC-8F224979B9F1}" dt="2024-11-12T06:41:11.699" v="986" actId="47"/>
        <pc:sldMkLst>
          <pc:docMk/>
          <pc:sldMk cId="2453298672" sldId="2134806589"/>
        </pc:sldMkLst>
      </pc:sldChg>
      <pc:sldChg chg="del">
        <pc:chgData name="Mohamed Ibissi" userId="90b6f8706c8cb808" providerId="LiveId" clId="{7F1EA6FA-D2B5-47DE-ABEC-8F224979B9F1}" dt="2024-11-12T06:41:12.277" v="987" actId="47"/>
        <pc:sldMkLst>
          <pc:docMk/>
          <pc:sldMk cId="1054686414" sldId="2134806590"/>
        </pc:sldMkLst>
      </pc:sldChg>
      <pc:sldChg chg="del">
        <pc:chgData name="Mohamed Ibissi" userId="90b6f8706c8cb808" providerId="LiveId" clId="{7F1EA6FA-D2B5-47DE-ABEC-8F224979B9F1}" dt="2024-11-12T06:41:13.075" v="988" actId="47"/>
        <pc:sldMkLst>
          <pc:docMk/>
          <pc:sldMk cId="3010431797" sldId="2134806591"/>
        </pc:sldMkLst>
      </pc:sldChg>
      <pc:sldChg chg="del">
        <pc:chgData name="Mohamed Ibissi" userId="90b6f8706c8cb808" providerId="LiveId" clId="{7F1EA6FA-D2B5-47DE-ABEC-8F224979B9F1}" dt="2024-11-12T06:41:14.841" v="991" actId="47"/>
        <pc:sldMkLst>
          <pc:docMk/>
          <pc:sldMk cId="1349712520" sldId="2134806592"/>
        </pc:sldMkLst>
      </pc:sldChg>
      <pc:sldChg chg="del">
        <pc:chgData name="Mohamed Ibissi" userId="90b6f8706c8cb808" providerId="LiveId" clId="{7F1EA6FA-D2B5-47DE-ABEC-8F224979B9F1}" dt="2024-11-12T06:41:15.185" v="992" actId="47"/>
        <pc:sldMkLst>
          <pc:docMk/>
          <pc:sldMk cId="1418525123" sldId="2134806593"/>
        </pc:sldMkLst>
      </pc:sldChg>
      <pc:sldChg chg="del">
        <pc:chgData name="Mohamed Ibissi" userId="90b6f8706c8cb808" providerId="LiveId" clId="{7F1EA6FA-D2B5-47DE-ABEC-8F224979B9F1}" dt="2024-11-12T06:41:15.530" v="993" actId="47"/>
        <pc:sldMkLst>
          <pc:docMk/>
          <pc:sldMk cId="806297065" sldId="2134806594"/>
        </pc:sldMkLst>
      </pc:sldChg>
      <pc:sldChg chg="del">
        <pc:chgData name="Mohamed Ibissi" userId="90b6f8706c8cb808" providerId="LiveId" clId="{7F1EA6FA-D2B5-47DE-ABEC-8F224979B9F1}" dt="2024-11-12T06:41:15.811" v="994" actId="47"/>
        <pc:sldMkLst>
          <pc:docMk/>
          <pc:sldMk cId="2567300093" sldId="2134806599"/>
        </pc:sldMkLst>
      </pc:sldChg>
      <pc:sldChg chg="del">
        <pc:chgData name="Mohamed Ibissi" userId="90b6f8706c8cb808" providerId="LiveId" clId="{7F1EA6FA-D2B5-47DE-ABEC-8F224979B9F1}" dt="2024-11-12T06:41:16.061" v="995" actId="47"/>
        <pc:sldMkLst>
          <pc:docMk/>
          <pc:sldMk cId="161042347" sldId="2134806600"/>
        </pc:sldMkLst>
      </pc:sldChg>
      <pc:sldChg chg="del">
        <pc:chgData name="Mohamed Ibissi" userId="90b6f8706c8cb808" providerId="LiveId" clId="{7F1EA6FA-D2B5-47DE-ABEC-8F224979B9F1}" dt="2024-11-12T06:41:16.311" v="996" actId="47"/>
        <pc:sldMkLst>
          <pc:docMk/>
          <pc:sldMk cId="3698259618" sldId="2134806601"/>
        </pc:sldMkLst>
      </pc:sldChg>
      <pc:sldChg chg="del">
        <pc:chgData name="Mohamed Ibissi" userId="90b6f8706c8cb808" providerId="LiveId" clId="{7F1EA6FA-D2B5-47DE-ABEC-8F224979B9F1}" dt="2024-11-12T06:41:16.561" v="997" actId="47"/>
        <pc:sldMkLst>
          <pc:docMk/>
          <pc:sldMk cId="1730859043" sldId="2134806602"/>
        </pc:sldMkLst>
      </pc:sldChg>
      <pc:sldChg chg="del">
        <pc:chgData name="Mohamed Ibissi" userId="90b6f8706c8cb808" providerId="LiveId" clId="{7F1EA6FA-D2B5-47DE-ABEC-8F224979B9F1}" dt="2024-11-12T06:41:17.328" v="998" actId="47"/>
        <pc:sldMkLst>
          <pc:docMk/>
          <pc:sldMk cId="1627125855" sldId="2134806603"/>
        </pc:sldMkLst>
      </pc:sldChg>
      <pc:sldChg chg="del">
        <pc:chgData name="Mohamed Ibissi" userId="90b6f8706c8cb808" providerId="LiveId" clId="{7F1EA6FA-D2B5-47DE-ABEC-8F224979B9F1}" dt="2024-11-12T06:41:17.625" v="999" actId="47"/>
        <pc:sldMkLst>
          <pc:docMk/>
          <pc:sldMk cId="747686193" sldId="2134806604"/>
        </pc:sldMkLst>
      </pc:sldChg>
      <pc:sldChg chg="del">
        <pc:chgData name="Mohamed Ibissi" userId="90b6f8706c8cb808" providerId="LiveId" clId="{7F1EA6FA-D2B5-47DE-ABEC-8F224979B9F1}" dt="2024-11-12T06:41:18.407" v="1000" actId="47"/>
        <pc:sldMkLst>
          <pc:docMk/>
          <pc:sldMk cId="1709510636" sldId="2134806605"/>
        </pc:sldMkLst>
      </pc:sldChg>
      <pc:sldChg chg="del">
        <pc:chgData name="Mohamed Ibissi" userId="90b6f8706c8cb808" providerId="LiveId" clId="{7F1EA6FA-D2B5-47DE-ABEC-8F224979B9F1}" dt="2024-11-12T06:42:14.468" v="1006" actId="47"/>
        <pc:sldMkLst>
          <pc:docMk/>
          <pc:sldMk cId="3590970086" sldId="2134806606"/>
        </pc:sldMkLst>
      </pc:sldChg>
      <pc:sldChg chg="del">
        <pc:chgData name="Mohamed Ibissi" userId="90b6f8706c8cb808" providerId="LiveId" clId="{7F1EA6FA-D2B5-47DE-ABEC-8F224979B9F1}" dt="2024-11-12T06:42:17.813" v="1007" actId="47"/>
        <pc:sldMkLst>
          <pc:docMk/>
          <pc:sldMk cId="3968106039" sldId="2134806607"/>
        </pc:sldMkLst>
      </pc:sldChg>
      <pc:sldChg chg="del">
        <pc:chgData name="Mohamed Ibissi" userId="90b6f8706c8cb808" providerId="LiveId" clId="{7F1EA6FA-D2B5-47DE-ABEC-8F224979B9F1}" dt="2024-11-12T06:42:18.674" v="1008" actId="47"/>
        <pc:sldMkLst>
          <pc:docMk/>
          <pc:sldMk cId="322751592" sldId="2134806608"/>
        </pc:sldMkLst>
      </pc:sldChg>
      <pc:sldChg chg="del">
        <pc:chgData name="Mohamed Ibissi" userId="90b6f8706c8cb808" providerId="LiveId" clId="{7F1EA6FA-D2B5-47DE-ABEC-8F224979B9F1}" dt="2024-11-12T06:42:20.597" v="1009" actId="47"/>
        <pc:sldMkLst>
          <pc:docMk/>
          <pc:sldMk cId="1924826847" sldId="2134806609"/>
        </pc:sldMkLst>
      </pc:sldChg>
      <pc:sldChg chg="del">
        <pc:chgData name="Mohamed Ibissi" userId="90b6f8706c8cb808" providerId="LiveId" clId="{7F1EA6FA-D2B5-47DE-ABEC-8F224979B9F1}" dt="2024-11-12T06:42:26.258" v="1017" actId="47"/>
        <pc:sldMkLst>
          <pc:docMk/>
          <pc:sldMk cId="2180611796" sldId="2134806610"/>
        </pc:sldMkLst>
      </pc:sldChg>
      <pc:sldChg chg="del">
        <pc:chgData name="Mohamed Ibissi" userId="90b6f8706c8cb808" providerId="LiveId" clId="{7F1EA6FA-D2B5-47DE-ABEC-8F224979B9F1}" dt="2024-11-12T06:42:26.758" v="1018" actId="47"/>
        <pc:sldMkLst>
          <pc:docMk/>
          <pc:sldMk cId="1474517608" sldId="2134806612"/>
        </pc:sldMkLst>
      </pc:sldChg>
      <pc:sldChg chg="del">
        <pc:chgData name="Mohamed Ibissi" userId="90b6f8706c8cb808" providerId="LiveId" clId="{7F1EA6FA-D2B5-47DE-ABEC-8F224979B9F1}" dt="2024-11-12T06:42:27.149" v="1019" actId="47"/>
        <pc:sldMkLst>
          <pc:docMk/>
          <pc:sldMk cId="319560384" sldId="2134806613"/>
        </pc:sldMkLst>
      </pc:sldChg>
      <pc:sldChg chg="del">
        <pc:chgData name="Mohamed Ibissi" userId="90b6f8706c8cb808" providerId="LiveId" clId="{7F1EA6FA-D2B5-47DE-ABEC-8F224979B9F1}" dt="2024-11-12T06:42:27.540" v="1020" actId="47"/>
        <pc:sldMkLst>
          <pc:docMk/>
          <pc:sldMk cId="2757146453" sldId="2134806614"/>
        </pc:sldMkLst>
      </pc:sldChg>
      <pc:sldChg chg="del">
        <pc:chgData name="Mohamed Ibissi" userId="90b6f8706c8cb808" providerId="LiveId" clId="{7F1EA6FA-D2B5-47DE-ABEC-8F224979B9F1}" dt="2024-11-12T06:42:27.853" v="1021" actId="47"/>
        <pc:sldMkLst>
          <pc:docMk/>
          <pc:sldMk cId="145184079" sldId="2134806615"/>
        </pc:sldMkLst>
      </pc:sldChg>
      <pc:sldChg chg="del">
        <pc:chgData name="Mohamed Ibissi" userId="90b6f8706c8cb808" providerId="LiveId" clId="{7F1EA6FA-D2B5-47DE-ABEC-8F224979B9F1}" dt="2024-11-12T06:42:28.806" v="1025" actId="47"/>
        <pc:sldMkLst>
          <pc:docMk/>
          <pc:sldMk cId="3487308513" sldId="2134806616"/>
        </pc:sldMkLst>
      </pc:sldChg>
      <pc:sldChg chg="del">
        <pc:chgData name="Mohamed Ibissi" userId="90b6f8706c8cb808" providerId="LiveId" clId="{7F1EA6FA-D2B5-47DE-ABEC-8F224979B9F1}" dt="2024-11-12T06:42:32.246" v="1033" actId="47"/>
        <pc:sldMkLst>
          <pc:docMk/>
          <pc:sldMk cId="3242089956" sldId="2134806618"/>
        </pc:sldMkLst>
      </pc:sldChg>
      <pc:sldChg chg="del">
        <pc:chgData name="Mohamed Ibissi" userId="90b6f8706c8cb808" providerId="LiveId" clId="{7F1EA6FA-D2B5-47DE-ABEC-8F224979B9F1}" dt="2024-11-12T06:42:32.449" v="1034" actId="47"/>
        <pc:sldMkLst>
          <pc:docMk/>
          <pc:sldMk cId="2245035845" sldId="2134806619"/>
        </pc:sldMkLst>
      </pc:sldChg>
      <pc:sldChg chg="del">
        <pc:chgData name="Mohamed Ibissi" userId="90b6f8706c8cb808" providerId="LiveId" clId="{7F1EA6FA-D2B5-47DE-ABEC-8F224979B9F1}" dt="2024-11-12T06:42:32.684" v="1035" actId="47"/>
        <pc:sldMkLst>
          <pc:docMk/>
          <pc:sldMk cId="2347170905" sldId="2134806620"/>
        </pc:sldMkLst>
      </pc:sldChg>
      <pc:sldChg chg="del">
        <pc:chgData name="Mohamed Ibissi" userId="90b6f8706c8cb808" providerId="LiveId" clId="{7F1EA6FA-D2B5-47DE-ABEC-8F224979B9F1}" dt="2024-11-12T06:42:32.934" v="1036" actId="47"/>
        <pc:sldMkLst>
          <pc:docMk/>
          <pc:sldMk cId="4086421249" sldId="2134806621"/>
        </pc:sldMkLst>
      </pc:sldChg>
      <pc:sldChg chg="del">
        <pc:chgData name="Mohamed Ibissi" userId="90b6f8706c8cb808" providerId="LiveId" clId="{7F1EA6FA-D2B5-47DE-ABEC-8F224979B9F1}" dt="2024-11-12T06:42:33.137" v="1037" actId="47"/>
        <pc:sldMkLst>
          <pc:docMk/>
          <pc:sldMk cId="878864199" sldId="2134806622"/>
        </pc:sldMkLst>
      </pc:sldChg>
      <pc:sldChg chg="del">
        <pc:chgData name="Mohamed Ibissi" userId="90b6f8706c8cb808" providerId="LiveId" clId="{7F1EA6FA-D2B5-47DE-ABEC-8F224979B9F1}" dt="2024-11-12T05:49:10.754" v="352" actId="47"/>
        <pc:sldMkLst>
          <pc:docMk/>
          <pc:sldMk cId="1117548044" sldId="2134806624"/>
        </pc:sldMkLst>
      </pc:sldChg>
      <pc:sldChg chg="del">
        <pc:chgData name="Mohamed Ibissi" userId="90b6f8706c8cb808" providerId="LiveId" clId="{7F1EA6FA-D2B5-47DE-ABEC-8F224979B9F1}" dt="2024-11-12T05:49:11.379" v="353" actId="47"/>
        <pc:sldMkLst>
          <pc:docMk/>
          <pc:sldMk cId="3623553298" sldId="2134806625"/>
        </pc:sldMkLst>
      </pc:sldChg>
      <pc:sldChg chg="del">
        <pc:chgData name="Mohamed Ibissi" userId="90b6f8706c8cb808" providerId="LiveId" clId="{7F1EA6FA-D2B5-47DE-ABEC-8F224979B9F1}" dt="2024-11-12T05:49:12.051" v="354" actId="47"/>
        <pc:sldMkLst>
          <pc:docMk/>
          <pc:sldMk cId="1684600561" sldId="2134806626"/>
        </pc:sldMkLst>
      </pc:sldChg>
      <pc:sldChg chg="del">
        <pc:chgData name="Mohamed Ibissi" userId="90b6f8706c8cb808" providerId="LiveId" clId="{7F1EA6FA-D2B5-47DE-ABEC-8F224979B9F1}" dt="2024-11-12T05:49:12.707" v="355" actId="47"/>
        <pc:sldMkLst>
          <pc:docMk/>
          <pc:sldMk cId="2797036826" sldId="2134806627"/>
        </pc:sldMkLst>
      </pc:sldChg>
      <pc:sldChg chg="del">
        <pc:chgData name="Mohamed Ibissi" userId="90b6f8706c8cb808" providerId="LiveId" clId="{7F1EA6FA-D2B5-47DE-ABEC-8F224979B9F1}" dt="2024-11-12T06:42:21.332" v="1010" actId="47"/>
        <pc:sldMkLst>
          <pc:docMk/>
          <pc:sldMk cId="1017737842" sldId="2134806628"/>
        </pc:sldMkLst>
      </pc:sldChg>
      <pc:sldChg chg="del">
        <pc:chgData name="Mohamed Ibissi" userId="90b6f8706c8cb808" providerId="LiveId" clId="{7F1EA6FA-D2B5-47DE-ABEC-8F224979B9F1}" dt="2024-11-12T06:42:22.005" v="1011" actId="47"/>
        <pc:sldMkLst>
          <pc:docMk/>
          <pc:sldMk cId="2985128017" sldId="2134806629"/>
        </pc:sldMkLst>
      </pc:sldChg>
      <pc:sldChg chg="del">
        <pc:chgData name="Mohamed Ibissi" userId="90b6f8706c8cb808" providerId="LiveId" clId="{7F1EA6FA-D2B5-47DE-ABEC-8F224979B9F1}" dt="2024-11-12T06:42:22.599" v="1012" actId="47"/>
        <pc:sldMkLst>
          <pc:docMk/>
          <pc:sldMk cId="44001831" sldId="2134806630"/>
        </pc:sldMkLst>
      </pc:sldChg>
      <pc:sldChg chg="del">
        <pc:chgData name="Mohamed Ibissi" userId="90b6f8706c8cb808" providerId="LiveId" clId="{7F1EA6FA-D2B5-47DE-ABEC-8F224979B9F1}" dt="2024-11-12T06:42:23.099" v="1013" actId="47"/>
        <pc:sldMkLst>
          <pc:docMk/>
          <pc:sldMk cId="3954519729" sldId="2134806631"/>
        </pc:sldMkLst>
      </pc:sldChg>
      <pc:sldChg chg="del">
        <pc:chgData name="Mohamed Ibissi" userId="90b6f8706c8cb808" providerId="LiveId" clId="{7F1EA6FA-D2B5-47DE-ABEC-8F224979B9F1}" dt="2024-11-12T06:42:23.834" v="1014" actId="47"/>
        <pc:sldMkLst>
          <pc:docMk/>
          <pc:sldMk cId="2050475058" sldId="2134806632"/>
        </pc:sldMkLst>
      </pc:sldChg>
      <pc:sldChg chg="del">
        <pc:chgData name="Mohamed Ibissi" userId="90b6f8706c8cb808" providerId="LiveId" clId="{7F1EA6FA-D2B5-47DE-ABEC-8F224979B9F1}" dt="2024-11-12T06:42:33.371" v="1038" actId="47"/>
        <pc:sldMkLst>
          <pc:docMk/>
          <pc:sldMk cId="2026058488" sldId="2134806633"/>
        </pc:sldMkLst>
      </pc:sldChg>
      <pc:sldChg chg="del">
        <pc:chgData name="Mohamed Ibissi" userId="90b6f8706c8cb808" providerId="LiveId" clId="{7F1EA6FA-D2B5-47DE-ABEC-8F224979B9F1}" dt="2024-11-12T06:42:33.605" v="1039" actId="47"/>
        <pc:sldMkLst>
          <pc:docMk/>
          <pc:sldMk cId="811276661" sldId="2134806634"/>
        </pc:sldMkLst>
      </pc:sldChg>
      <pc:sldChg chg="del">
        <pc:chgData name="Mohamed Ibissi" userId="90b6f8706c8cb808" providerId="LiveId" clId="{7F1EA6FA-D2B5-47DE-ABEC-8F224979B9F1}" dt="2024-11-12T06:42:34.309" v="1042" actId="47"/>
        <pc:sldMkLst>
          <pc:docMk/>
          <pc:sldMk cId="1333349807" sldId="2134806635"/>
        </pc:sldMkLst>
      </pc:sldChg>
      <pc:sldChg chg="del">
        <pc:chgData name="Mohamed Ibissi" userId="90b6f8706c8cb808" providerId="LiveId" clId="{7F1EA6FA-D2B5-47DE-ABEC-8F224979B9F1}" dt="2024-11-12T06:42:34.559" v="1043" actId="47"/>
        <pc:sldMkLst>
          <pc:docMk/>
          <pc:sldMk cId="3312766305" sldId="2134806636"/>
        </pc:sldMkLst>
      </pc:sldChg>
      <pc:sldChg chg="del">
        <pc:chgData name="Mohamed Ibissi" userId="90b6f8706c8cb808" providerId="LiveId" clId="{7F1EA6FA-D2B5-47DE-ABEC-8F224979B9F1}" dt="2024-11-12T06:42:34.871" v="1044" actId="47"/>
        <pc:sldMkLst>
          <pc:docMk/>
          <pc:sldMk cId="2827829304" sldId="2134806637"/>
        </pc:sldMkLst>
      </pc:sldChg>
      <pc:sldChg chg="del">
        <pc:chgData name="Mohamed Ibissi" userId="90b6f8706c8cb808" providerId="LiveId" clId="{7F1EA6FA-D2B5-47DE-ABEC-8F224979B9F1}" dt="2024-11-12T06:42:35.450" v="1045" actId="47"/>
        <pc:sldMkLst>
          <pc:docMk/>
          <pc:sldMk cId="1081213944" sldId="2134806638"/>
        </pc:sldMkLst>
      </pc:sldChg>
      <pc:sldChg chg="del">
        <pc:chgData name="Mohamed Ibissi" userId="90b6f8706c8cb808" providerId="LiveId" clId="{7F1EA6FA-D2B5-47DE-ABEC-8F224979B9F1}" dt="2024-11-12T06:42:35.716" v="1046" actId="47"/>
        <pc:sldMkLst>
          <pc:docMk/>
          <pc:sldMk cId="18477359" sldId="2134806639"/>
        </pc:sldMkLst>
      </pc:sldChg>
      <pc:sldChg chg="del">
        <pc:chgData name="Mohamed Ibissi" userId="90b6f8706c8cb808" providerId="LiveId" clId="{7F1EA6FA-D2B5-47DE-ABEC-8F224979B9F1}" dt="2024-11-12T06:42:35.997" v="1047" actId="47"/>
        <pc:sldMkLst>
          <pc:docMk/>
          <pc:sldMk cId="4161022977" sldId="2134806640"/>
        </pc:sldMkLst>
      </pc:sldChg>
      <pc:sldChg chg="del">
        <pc:chgData name="Mohamed Ibissi" userId="90b6f8706c8cb808" providerId="LiveId" clId="{7F1EA6FA-D2B5-47DE-ABEC-8F224979B9F1}" dt="2024-11-12T06:42:36.325" v="1048" actId="47"/>
        <pc:sldMkLst>
          <pc:docMk/>
          <pc:sldMk cId="4052655697" sldId="2134806641"/>
        </pc:sldMkLst>
      </pc:sldChg>
      <pc:sldChg chg="del">
        <pc:chgData name="Mohamed Ibissi" userId="90b6f8706c8cb808" providerId="LiveId" clId="{7F1EA6FA-D2B5-47DE-ABEC-8F224979B9F1}" dt="2024-11-12T06:42:36.685" v="1049" actId="47"/>
        <pc:sldMkLst>
          <pc:docMk/>
          <pc:sldMk cId="1094062756" sldId="2134806642"/>
        </pc:sldMkLst>
      </pc:sldChg>
      <pc:sldChg chg="del">
        <pc:chgData name="Mohamed Ibissi" userId="90b6f8706c8cb808" providerId="LiveId" clId="{7F1EA6FA-D2B5-47DE-ABEC-8F224979B9F1}" dt="2024-11-12T06:42:37.029" v="1050" actId="47"/>
        <pc:sldMkLst>
          <pc:docMk/>
          <pc:sldMk cId="1502978664" sldId="2134806643"/>
        </pc:sldMkLst>
      </pc:sldChg>
      <pc:sldChg chg="del">
        <pc:chgData name="Mohamed Ibissi" userId="90b6f8706c8cb808" providerId="LiveId" clId="{7F1EA6FA-D2B5-47DE-ABEC-8F224979B9F1}" dt="2024-11-12T06:42:37.297" v="1051" actId="47"/>
        <pc:sldMkLst>
          <pc:docMk/>
          <pc:sldMk cId="2109111714" sldId="2134806644"/>
        </pc:sldMkLst>
      </pc:sldChg>
      <pc:sldChg chg="del">
        <pc:chgData name="Mohamed Ibissi" userId="90b6f8706c8cb808" providerId="LiveId" clId="{7F1EA6FA-D2B5-47DE-ABEC-8F224979B9F1}" dt="2024-11-12T06:42:37.638" v="1052" actId="47"/>
        <pc:sldMkLst>
          <pc:docMk/>
          <pc:sldMk cId="293421580" sldId="2134806645"/>
        </pc:sldMkLst>
      </pc:sldChg>
      <pc:sldChg chg="del">
        <pc:chgData name="Mohamed Ibissi" userId="90b6f8706c8cb808" providerId="LiveId" clId="{7F1EA6FA-D2B5-47DE-ABEC-8F224979B9F1}" dt="2024-11-12T06:42:38.864" v="1053" actId="47"/>
        <pc:sldMkLst>
          <pc:docMk/>
          <pc:sldMk cId="2964042354" sldId="2134806646"/>
        </pc:sldMkLst>
      </pc:sldChg>
      <pc:sldChg chg="del">
        <pc:chgData name="Mohamed Ibissi" userId="90b6f8706c8cb808" providerId="LiveId" clId="{7F1EA6FA-D2B5-47DE-ABEC-8F224979B9F1}" dt="2024-11-12T06:42:39.764" v="1054" actId="47"/>
        <pc:sldMkLst>
          <pc:docMk/>
          <pc:sldMk cId="1993648033" sldId="2134806647"/>
        </pc:sldMkLst>
      </pc:sldChg>
      <pc:sldChg chg="del">
        <pc:chgData name="Mohamed Ibissi" userId="90b6f8706c8cb808" providerId="LiveId" clId="{7F1EA6FA-D2B5-47DE-ABEC-8F224979B9F1}" dt="2024-11-12T06:42:40.453" v="1055" actId="47"/>
        <pc:sldMkLst>
          <pc:docMk/>
          <pc:sldMk cId="562026693" sldId="2134806648"/>
        </pc:sldMkLst>
      </pc:sldChg>
      <pc:sldChg chg="del">
        <pc:chgData name="Mohamed Ibissi" userId="90b6f8706c8cb808" providerId="LiveId" clId="{7F1EA6FA-D2B5-47DE-ABEC-8F224979B9F1}" dt="2024-11-12T06:42:41.031" v="1056" actId="47"/>
        <pc:sldMkLst>
          <pc:docMk/>
          <pc:sldMk cId="3199588004" sldId="2134806649"/>
        </pc:sldMkLst>
      </pc:sldChg>
      <pc:sldChg chg="del">
        <pc:chgData name="Mohamed Ibissi" userId="90b6f8706c8cb808" providerId="LiveId" clId="{7F1EA6FA-D2B5-47DE-ABEC-8F224979B9F1}" dt="2024-11-12T06:42:33.871" v="1040" actId="47"/>
        <pc:sldMkLst>
          <pc:docMk/>
          <pc:sldMk cId="3542449162" sldId="2134806650"/>
        </pc:sldMkLst>
      </pc:sldChg>
      <pc:sldChg chg="del">
        <pc:chgData name="Mohamed Ibissi" userId="90b6f8706c8cb808" providerId="LiveId" clId="{7F1EA6FA-D2B5-47DE-ABEC-8F224979B9F1}" dt="2024-11-12T06:42:34.074" v="1041" actId="47"/>
        <pc:sldMkLst>
          <pc:docMk/>
          <pc:sldMk cId="524507643" sldId="2134806651"/>
        </pc:sldMkLst>
      </pc:sldChg>
      <pc:sldChg chg="modSp mod">
        <pc:chgData name="Mohamed Ibissi" userId="90b6f8706c8cb808" providerId="LiveId" clId="{7F1EA6FA-D2B5-47DE-ABEC-8F224979B9F1}" dt="2024-11-12T05:30:55.626" v="32" actId="20577"/>
        <pc:sldMkLst>
          <pc:docMk/>
          <pc:sldMk cId="0" sldId="2134806652"/>
        </pc:sldMkLst>
        <pc:spChg chg="mod">
          <ac:chgData name="Mohamed Ibissi" userId="90b6f8706c8cb808" providerId="LiveId" clId="{7F1EA6FA-D2B5-47DE-ABEC-8F224979B9F1}" dt="2024-11-12T05:30:55.626" v="32" actId="20577"/>
          <ac:spMkLst>
            <pc:docMk/>
            <pc:sldMk cId="0" sldId="2134806652"/>
            <ac:spMk id="19" creationId="{01830A1B-7C91-19D3-13F4-8B743F4BB460}"/>
          </ac:spMkLst>
        </pc:spChg>
        <pc:spChg chg="mod">
          <ac:chgData name="Mohamed Ibissi" userId="90b6f8706c8cb808" providerId="LiveId" clId="{7F1EA6FA-D2B5-47DE-ABEC-8F224979B9F1}" dt="2024-11-12T05:30:24.249" v="7" actId="20577"/>
          <ac:spMkLst>
            <pc:docMk/>
            <pc:sldMk cId="0" sldId="2134806652"/>
            <ac:spMk id="24" creationId="{F348931E-3B0C-075B-B62E-4475484F93BA}"/>
          </ac:spMkLst>
        </pc:spChg>
      </pc:sldChg>
      <pc:sldChg chg="modSp mod">
        <pc:chgData name="Mohamed Ibissi" userId="90b6f8706c8cb808" providerId="LiveId" clId="{7F1EA6FA-D2B5-47DE-ABEC-8F224979B9F1}" dt="2024-11-12T13:04:15.806" v="2386" actId="1076"/>
        <pc:sldMkLst>
          <pc:docMk/>
          <pc:sldMk cId="771825463" sldId="2134806653"/>
        </pc:sldMkLst>
        <pc:spChg chg="mod">
          <ac:chgData name="Mohamed Ibissi" userId="90b6f8706c8cb808" providerId="LiveId" clId="{7F1EA6FA-D2B5-47DE-ABEC-8F224979B9F1}" dt="2024-11-12T13:04:15.806" v="2386" actId="1076"/>
          <ac:spMkLst>
            <pc:docMk/>
            <pc:sldMk cId="771825463" sldId="2134806653"/>
            <ac:spMk id="30" creationId="{2998D8A0-373E-CBC3-F39E-C85374E71F84}"/>
          </ac:spMkLst>
        </pc:spChg>
      </pc:sldChg>
      <pc:sldChg chg="modSp mod">
        <pc:chgData name="Mohamed Ibissi" userId="90b6f8706c8cb808" providerId="LiveId" clId="{7F1EA6FA-D2B5-47DE-ABEC-8F224979B9F1}" dt="2024-11-12T13:04:43.165" v="2388" actId="108"/>
        <pc:sldMkLst>
          <pc:docMk/>
          <pc:sldMk cId="3809573710" sldId="2134806654"/>
        </pc:sldMkLst>
        <pc:spChg chg="mod">
          <ac:chgData name="Mohamed Ibissi" userId="90b6f8706c8cb808" providerId="LiveId" clId="{7F1EA6FA-D2B5-47DE-ABEC-8F224979B9F1}" dt="2024-11-12T13:04:43.165" v="2388" actId="108"/>
          <ac:spMkLst>
            <pc:docMk/>
            <pc:sldMk cId="3809573710" sldId="2134806654"/>
            <ac:spMk id="2" creationId="{EFB9B008-41AC-BDC5-4B91-5A497B148B44}"/>
          </ac:spMkLst>
        </pc:spChg>
        <pc:spChg chg="mod">
          <ac:chgData name="Mohamed Ibissi" userId="90b6f8706c8cb808" providerId="LiveId" clId="{7F1EA6FA-D2B5-47DE-ABEC-8F224979B9F1}" dt="2024-11-12T13:04:28.827" v="2387" actId="2711"/>
          <ac:spMkLst>
            <pc:docMk/>
            <pc:sldMk cId="3809573710" sldId="2134806654"/>
            <ac:spMk id="8" creationId="{E7EE83DA-B173-8904-FF97-439EA153238B}"/>
          </ac:spMkLst>
        </pc:spChg>
      </pc:sldChg>
      <pc:sldChg chg="modSp mod">
        <pc:chgData name="Mohamed Ibissi" userId="90b6f8706c8cb808" providerId="LiveId" clId="{7F1EA6FA-D2B5-47DE-ABEC-8F224979B9F1}" dt="2024-11-12T20:02:39.487" v="2450" actId="20577"/>
        <pc:sldMkLst>
          <pc:docMk/>
          <pc:sldMk cId="3456365433" sldId="2134806655"/>
        </pc:sldMkLst>
        <pc:spChg chg="mod">
          <ac:chgData name="Mohamed Ibissi" userId="90b6f8706c8cb808" providerId="LiveId" clId="{7F1EA6FA-D2B5-47DE-ABEC-8F224979B9F1}" dt="2024-11-12T05:31:44.934" v="57" actId="20577"/>
          <ac:spMkLst>
            <pc:docMk/>
            <pc:sldMk cId="3456365433" sldId="2134806655"/>
            <ac:spMk id="2" creationId="{5D5EC3F9-B576-AAD3-32E6-690B5DFDA61D}"/>
          </ac:spMkLst>
        </pc:spChg>
        <pc:spChg chg="mod">
          <ac:chgData name="Mohamed Ibissi" userId="90b6f8706c8cb808" providerId="LiveId" clId="{7F1EA6FA-D2B5-47DE-ABEC-8F224979B9F1}" dt="2024-11-12T20:02:39.487" v="2450" actId="20577"/>
          <ac:spMkLst>
            <pc:docMk/>
            <pc:sldMk cId="3456365433" sldId="2134806655"/>
            <ac:spMk id="6" creationId="{00000000-0000-0000-0000-000000000000}"/>
          </ac:spMkLst>
        </pc:spChg>
      </pc:sldChg>
      <pc:sldChg chg="modSp mod">
        <pc:chgData name="Mohamed Ibissi" userId="90b6f8706c8cb808" providerId="LiveId" clId="{7F1EA6FA-D2B5-47DE-ABEC-8F224979B9F1}" dt="2024-11-12T05:42:40.882" v="279" actId="14100"/>
        <pc:sldMkLst>
          <pc:docMk/>
          <pc:sldMk cId="461257426" sldId="2134806656"/>
        </pc:sldMkLst>
        <pc:spChg chg="mod">
          <ac:chgData name="Mohamed Ibissi" userId="90b6f8706c8cb808" providerId="LiveId" clId="{7F1EA6FA-D2B5-47DE-ABEC-8F224979B9F1}" dt="2024-11-12T05:42:40.882" v="279" actId="14100"/>
          <ac:spMkLst>
            <pc:docMk/>
            <pc:sldMk cId="461257426" sldId="2134806656"/>
            <ac:spMk id="2" creationId="{FD633BB9-ADE0-571E-4198-23E212CFA82F}"/>
          </ac:spMkLst>
        </pc:spChg>
      </pc:sldChg>
      <pc:sldChg chg="modSp mod">
        <pc:chgData name="Mohamed Ibissi" userId="90b6f8706c8cb808" providerId="LiveId" clId="{7F1EA6FA-D2B5-47DE-ABEC-8F224979B9F1}" dt="2024-11-12T06:34:38.830" v="978" actId="20577"/>
        <pc:sldMkLst>
          <pc:docMk/>
          <pc:sldMk cId="4121253854" sldId="2134806657"/>
        </pc:sldMkLst>
        <pc:spChg chg="mod">
          <ac:chgData name="Mohamed Ibissi" userId="90b6f8706c8cb808" providerId="LiveId" clId="{7F1EA6FA-D2B5-47DE-ABEC-8F224979B9F1}" dt="2024-11-12T06:34:38.830" v="978" actId="20577"/>
          <ac:spMkLst>
            <pc:docMk/>
            <pc:sldMk cId="4121253854" sldId="2134806657"/>
            <ac:spMk id="6" creationId="{F7B80CEE-EF85-F60C-1AD2-8ACD885F40CD}"/>
          </ac:spMkLst>
        </pc:spChg>
      </pc:sldChg>
      <pc:sldChg chg="del">
        <pc:chgData name="Mohamed Ibissi" userId="90b6f8706c8cb808" providerId="LiveId" clId="{7F1EA6FA-D2B5-47DE-ABEC-8F224979B9F1}" dt="2024-11-12T06:42:25.272" v="1015" actId="47"/>
        <pc:sldMkLst>
          <pc:docMk/>
          <pc:sldMk cId="3541423446" sldId="2134806658"/>
        </pc:sldMkLst>
      </pc:sldChg>
      <pc:sldChg chg="del">
        <pc:chgData name="Mohamed Ibissi" userId="90b6f8706c8cb808" providerId="LiveId" clId="{7F1EA6FA-D2B5-47DE-ABEC-8F224979B9F1}" dt="2024-11-12T06:42:28.212" v="1022" actId="47"/>
        <pc:sldMkLst>
          <pc:docMk/>
          <pc:sldMk cId="3146953523" sldId="2134806659"/>
        </pc:sldMkLst>
      </pc:sldChg>
      <pc:sldChg chg="del">
        <pc:chgData name="Mohamed Ibissi" userId="90b6f8706c8cb808" providerId="LiveId" clId="{7F1EA6FA-D2B5-47DE-ABEC-8F224979B9F1}" dt="2024-11-12T06:42:43.548" v="1057" actId="47"/>
        <pc:sldMkLst>
          <pc:docMk/>
          <pc:sldMk cId="2906845867" sldId="2134806660"/>
        </pc:sldMkLst>
      </pc:sldChg>
      <pc:sldChg chg="add del">
        <pc:chgData name="Mohamed Ibissi" userId="90b6f8706c8cb808" providerId="LiveId" clId="{7F1EA6FA-D2B5-47DE-ABEC-8F224979B9F1}" dt="2024-11-12T06:42:53.869" v="1065" actId="47"/>
        <pc:sldMkLst>
          <pc:docMk/>
          <pc:sldMk cId="2310812264" sldId="2134806661"/>
        </pc:sldMkLst>
      </pc:sldChg>
      <pc:sldChg chg="addSp delSp modSp add del mod">
        <pc:chgData name="Mohamed Ibissi" userId="90b6f8706c8cb808" providerId="LiveId" clId="{7F1EA6FA-D2B5-47DE-ABEC-8F224979B9F1}" dt="2024-11-12T11:22:53.123" v="1307" actId="47"/>
        <pc:sldMkLst>
          <pc:docMk/>
          <pc:sldMk cId="1730867880" sldId="2134806662"/>
        </pc:sldMkLst>
        <pc:spChg chg="mod">
          <ac:chgData name="Mohamed Ibissi" userId="90b6f8706c8cb808" providerId="LiveId" clId="{7F1EA6FA-D2B5-47DE-ABEC-8F224979B9F1}" dt="2024-11-12T11:17:19.104" v="1203" actId="20577"/>
          <ac:spMkLst>
            <pc:docMk/>
            <pc:sldMk cId="1730867880" sldId="2134806662"/>
            <ac:spMk id="4" creationId="{BFB6EFB0-F364-4F33-E6FC-9BD0C1323B4E}"/>
          </ac:spMkLst>
        </pc:spChg>
        <pc:spChg chg="mod">
          <ac:chgData name="Mohamed Ibissi" userId="90b6f8706c8cb808" providerId="LiveId" clId="{7F1EA6FA-D2B5-47DE-ABEC-8F224979B9F1}" dt="2024-11-12T11:16:37.929" v="1155" actId="1076"/>
          <ac:spMkLst>
            <pc:docMk/>
            <pc:sldMk cId="1730867880" sldId="2134806662"/>
            <ac:spMk id="8" creationId="{0AE79912-D0CA-99DE-72E9-DADAF77B8011}"/>
          </ac:spMkLst>
        </pc:spChg>
        <pc:spChg chg="mod">
          <ac:chgData name="Mohamed Ibissi" userId="90b6f8706c8cb808" providerId="LiveId" clId="{7F1EA6FA-D2B5-47DE-ABEC-8F224979B9F1}" dt="2024-11-12T11:16:37.929" v="1155" actId="1076"/>
          <ac:spMkLst>
            <pc:docMk/>
            <pc:sldMk cId="1730867880" sldId="2134806662"/>
            <ac:spMk id="9" creationId="{E1551801-E06A-C1D4-25C1-45371CC43551}"/>
          </ac:spMkLst>
        </pc:spChg>
        <pc:spChg chg="del">
          <ac:chgData name="Mohamed Ibissi" userId="90b6f8706c8cb808" providerId="LiveId" clId="{7F1EA6FA-D2B5-47DE-ABEC-8F224979B9F1}" dt="2024-11-12T11:16:17.538" v="1154" actId="478"/>
          <ac:spMkLst>
            <pc:docMk/>
            <pc:sldMk cId="1730867880" sldId="2134806662"/>
            <ac:spMk id="14" creationId="{2AE94F22-080B-2622-E8E5-25C6A3B944DF}"/>
          </ac:spMkLst>
        </pc:spChg>
        <pc:spChg chg="del">
          <ac:chgData name="Mohamed Ibissi" userId="90b6f8706c8cb808" providerId="LiveId" clId="{7F1EA6FA-D2B5-47DE-ABEC-8F224979B9F1}" dt="2024-11-12T11:16:17.538" v="1154" actId="478"/>
          <ac:spMkLst>
            <pc:docMk/>
            <pc:sldMk cId="1730867880" sldId="2134806662"/>
            <ac:spMk id="15" creationId="{B970B42F-2838-CF06-29AA-A77C4876386B}"/>
          </ac:spMkLst>
        </pc:spChg>
        <pc:picChg chg="add mod ord">
          <ac:chgData name="Mohamed Ibissi" userId="90b6f8706c8cb808" providerId="LiveId" clId="{7F1EA6FA-D2B5-47DE-ABEC-8F224979B9F1}" dt="2024-11-12T06:34:07.018" v="962" actId="167"/>
          <ac:picMkLst>
            <pc:docMk/>
            <pc:sldMk cId="1730867880" sldId="2134806662"/>
            <ac:picMk id="2" creationId="{82744C4A-B28D-3891-674A-1ADD687C7769}"/>
          </ac:picMkLst>
        </pc:picChg>
        <pc:picChg chg="mod">
          <ac:chgData name="Mohamed Ibissi" userId="90b6f8706c8cb808" providerId="LiveId" clId="{7F1EA6FA-D2B5-47DE-ABEC-8F224979B9F1}" dt="2024-11-12T11:16:37.929" v="1155" actId="1076"/>
          <ac:picMkLst>
            <pc:docMk/>
            <pc:sldMk cId="1730867880" sldId="2134806662"/>
            <ac:picMk id="3" creationId="{4175746F-83A5-4F78-56AC-653EA6046066}"/>
          </ac:picMkLst>
        </pc:picChg>
        <pc:picChg chg="del">
          <ac:chgData name="Mohamed Ibissi" userId="90b6f8706c8cb808" providerId="LiveId" clId="{7F1EA6FA-D2B5-47DE-ABEC-8F224979B9F1}" dt="2024-11-12T06:34:01.843" v="960" actId="478"/>
          <ac:picMkLst>
            <pc:docMk/>
            <pc:sldMk cId="1730867880" sldId="2134806662"/>
            <ac:picMk id="5" creationId="{6B25FAF7-7D01-404B-02D8-059FD6E3EAA2}"/>
          </ac:picMkLst>
        </pc:picChg>
        <pc:picChg chg="del">
          <ac:chgData name="Mohamed Ibissi" userId="90b6f8706c8cb808" providerId="LiveId" clId="{7F1EA6FA-D2B5-47DE-ABEC-8F224979B9F1}" dt="2024-11-12T11:16:17.538" v="1154" actId="478"/>
          <ac:picMkLst>
            <pc:docMk/>
            <pc:sldMk cId="1730867880" sldId="2134806662"/>
            <ac:picMk id="13" creationId="{52C72141-B888-90D0-51B1-D66B0D4C7BC4}"/>
          </ac:picMkLst>
        </pc:picChg>
        <pc:picChg chg="del">
          <ac:chgData name="Mohamed Ibissi" userId="90b6f8706c8cb808" providerId="LiveId" clId="{7F1EA6FA-D2B5-47DE-ABEC-8F224979B9F1}" dt="2024-11-12T11:16:17.538" v="1154" actId="478"/>
          <ac:picMkLst>
            <pc:docMk/>
            <pc:sldMk cId="1730867880" sldId="2134806662"/>
            <ac:picMk id="16" creationId="{4BA6E066-378A-1181-8A82-EFC60AC4815E}"/>
          </ac:picMkLst>
        </pc:picChg>
        <pc:picChg chg="del">
          <ac:chgData name="Mohamed Ibissi" userId="90b6f8706c8cb808" providerId="LiveId" clId="{7F1EA6FA-D2B5-47DE-ABEC-8F224979B9F1}" dt="2024-11-12T11:16:17.538" v="1154" actId="478"/>
          <ac:picMkLst>
            <pc:docMk/>
            <pc:sldMk cId="1730867880" sldId="2134806662"/>
            <ac:picMk id="17" creationId="{3FB10D9B-EFDE-6F5C-0D39-5B3776797B67}"/>
          </ac:picMkLst>
        </pc:picChg>
        <pc:picChg chg="mod">
          <ac:chgData name="Mohamed Ibissi" userId="90b6f8706c8cb808" providerId="LiveId" clId="{7F1EA6FA-D2B5-47DE-ABEC-8F224979B9F1}" dt="2024-11-12T11:16:37.929" v="1155" actId="1076"/>
          <ac:picMkLst>
            <pc:docMk/>
            <pc:sldMk cId="1730867880" sldId="2134806662"/>
            <ac:picMk id="27" creationId="{30070135-E70E-5234-6373-84C4CAD83E10}"/>
          </ac:picMkLst>
        </pc:picChg>
      </pc:sldChg>
      <pc:sldChg chg="addSp delSp modSp add mod">
        <pc:chgData name="Mohamed Ibissi" userId="90b6f8706c8cb808" providerId="LiveId" clId="{7F1EA6FA-D2B5-47DE-ABEC-8F224979B9F1}" dt="2024-11-12T06:32:28.686" v="938" actId="167"/>
        <pc:sldMkLst>
          <pc:docMk/>
          <pc:sldMk cId="2042290182" sldId="2134806663"/>
        </pc:sldMkLst>
        <pc:spChg chg="mod">
          <ac:chgData name="Mohamed Ibissi" userId="90b6f8706c8cb808" providerId="LiveId" clId="{7F1EA6FA-D2B5-47DE-ABEC-8F224979B9F1}" dt="2024-11-12T05:54:20.814" v="468" actId="20577"/>
          <ac:spMkLst>
            <pc:docMk/>
            <pc:sldMk cId="2042290182" sldId="2134806663"/>
            <ac:spMk id="3" creationId="{DA998CAE-A29A-755F-D1CD-03074CFE9D02}"/>
          </ac:spMkLst>
        </pc:spChg>
        <pc:picChg chg="del">
          <ac:chgData name="Mohamed Ibissi" userId="90b6f8706c8cb808" providerId="LiveId" clId="{7F1EA6FA-D2B5-47DE-ABEC-8F224979B9F1}" dt="2024-11-12T06:32:24.872" v="936" actId="478"/>
          <ac:picMkLst>
            <pc:docMk/>
            <pc:sldMk cId="2042290182" sldId="2134806663"/>
            <ac:picMk id="2" creationId="{A6D1F2A7-B3B8-5F4D-5C1E-54F55C2C02FE}"/>
          </ac:picMkLst>
        </pc:picChg>
        <pc:picChg chg="add mod">
          <ac:chgData name="Mohamed Ibissi" userId="90b6f8706c8cb808" providerId="LiveId" clId="{7F1EA6FA-D2B5-47DE-ABEC-8F224979B9F1}" dt="2024-11-12T05:55:16.296" v="476" actId="1037"/>
          <ac:picMkLst>
            <pc:docMk/>
            <pc:sldMk cId="2042290182" sldId="2134806663"/>
            <ac:picMk id="5" creationId="{7FBD64EE-67F2-BC9E-7C20-46EBD8748C3D}"/>
          </ac:picMkLst>
        </pc:picChg>
        <pc:picChg chg="del">
          <ac:chgData name="Mohamed Ibissi" userId="90b6f8706c8cb808" providerId="LiveId" clId="{7F1EA6FA-D2B5-47DE-ABEC-8F224979B9F1}" dt="2024-11-12T05:55:02.667" v="469" actId="478"/>
          <ac:picMkLst>
            <pc:docMk/>
            <pc:sldMk cId="2042290182" sldId="2134806663"/>
            <ac:picMk id="6" creationId="{E31382ED-0D85-45CA-E3D7-1604BD4E9C27}"/>
          </ac:picMkLst>
        </pc:picChg>
        <pc:picChg chg="add del mod">
          <ac:chgData name="Mohamed Ibissi" userId="90b6f8706c8cb808" providerId="LiveId" clId="{7F1EA6FA-D2B5-47DE-ABEC-8F224979B9F1}" dt="2024-11-12T06:29:22.440" v="926" actId="21"/>
          <ac:picMkLst>
            <pc:docMk/>
            <pc:sldMk cId="2042290182" sldId="2134806663"/>
            <ac:picMk id="7" creationId="{31863B0E-B9F4-C945-72B5-955A888ECEA6}"/>
          </ac:picMkLst>
        </pc:picChg>
        <pc:picChg chg="add mod ord">
          <ac:chgData name="Mohamed Ibissi" userId="90b6f8706c8cb808" providerId="LiveId" clId="{7F1EA6FA-D2B5-47DE-ABEC-8F224979B9F1}" dt="2024-11-12T06:32:28.686" v="938" actId="167"/>
          <ac:picMkLst>
            <pc:docMk/>
            <pc:sldMk cId="2042290182" sldId="2134806663"/>
            <ac:picMk id="8" creationId="{0FA5946A-9657-768D-9F50-AFA7B9BC298C}"/>
          </ac:picMkLst>
        </pc:picChg>
      </pc:sldChg>
      <pc:sldChg chg="addSp delSp modSp add mod">
        <pc:chgData name="Mohamed Ibissi" userId="90b6f8706c8cb808" providerId="LiveId" clId="{7F1EA6FA-D2B5-47DE-ABEC-8F224979B9F1}" dt="2024-11-12T06:32:37.079" v="941" actId="167"/>
        <pc:sldMkLst>
          <pc:docMk/>
          <pc:sldMk cId="1722157106" sldId="2134806664"/>
        </pc:sldMkLst>
        <pc:spChg chg="mod">
          <ac:chgData name="Mohamed Ibissi" userId="90b6f8706c8cb808" providerId="LiveId" clId="{7F1EA6FA-D2B5-47DE-ABEC-8F224979B9F1}" dt="2024-11-12T05:58:27.055" v="603" actId="1076"/>
          <ac:spMkLst>
            <pc:docMk/>
            <pc:sldMk cId="1722157106" sldId="2134806664"/>
            <ac:spMk id="3" creationId="{17CD7841-0AD7-1FDE-DE24-190EFAB6DCDC}"/>
          </ac:spMkLst>
        </pc:spChg>
        <pc:picChg chg="del">
          <ac:chgData name="Mohamed Ibissi" userId="90b6f8706c8cb808" providerId="LiveId" clId="{7F1EA6FA-D2B5-47DE-ABEC-8F224979B9F1}" dt="2024-11-12T06:32:32.938" v="939" actId="478"/>
          <ac:picMkLst>
            <pc:docMk/>
            <pc:sldMk cId="1722157106" sldId="2134806664"/>
            <ac:picMk id="2" creationId="{922434EE-2298-5D78-A87F-A254532A8E36}"/>
          </ac:picMkLst>
        </pc:picChg>
        <pc:picChg chg="add mod ord">
          <ac:chgData name="Mohamed Ibissi" userId="90b6f8706c8cb808" providerId="LiveId" clId="{7F1EA6FA-D2B5-47DE-ABEC-8F224979B9F1}" dt="2024-11-12T06:32:37.079" v="941" actId="167"/>
          <ac:picMkLst>
            <pc:docMk/>
            <pc:sldMk cId="1722157106" sldId="2134806664"/>
            <ac:picMk id="4" creationId="{9EBF9819-9117-6D51-3FB0-98F6BB5EE1F7}"/>
          </ac:picMkLst>
        </pc:picChg>
        <pc:picChg chg="mod">
          <ac:chgData name="Mohamed Ibissi" userId="90b6f8706c8cb808" providerId="LiveId" clId="{7F1EA6FA-D2B5-47DE-ABEC-8F224979B9F1}" dt="2024-11-12T05:56:24.186" v="480" actId="1076"/>
          <ac:picMkLst>
            <pc:docMk/>
            <pc:sldMk cId="1722157106" sldId="2134806664"/>
            <ac:picMk id="5" creationId="{D2593037-B23D-9AD2-B0FB-E22F52FD89CB}"/>
          </ac:picMkLst>
        </pc:picChg>
      </pc:sldChg>
      <pc:sldChg chg="addSp delSp modSp add mod modAnim">
        <pc:chgData name="Mohamed Ibissi" userId="90b6f8706c8cb808" providerId="LiveId" clId="{7F1EA6FA-D2B5-47DE-ABEC-8F224979B9F1}" dt="2024-11-12T06:32:46.931" v="944" actId="167"/>
        <pc:sldMkLst>
          <pc:docMk/>
          <pc:sldMk cId="1381256272" sldId="2134806665"/>
        </pc:sldMkLst>
        <pc:spChg chg="mod">
          <ac:chgData name="Mohamed Ibissi" userId="90b6f8706c8cb808" providerId="LiveId" clId="{7F1EA6FA-D2B5-47DE-ABEC-8F224979B9F1}" dt="2024-11-12T06:00:09.405" v="618" actId="1076"/>
          <ac:spMkLst>
            <pc:docMk/>
            <pc:sldMk cId="1381256272" sldId="2134806665"/>
            <ac:spMk id="3" creationId="{245D6B8F-A640-7179-6289-091D5AC7A308}"/>
          </ac:spMkLst>
        </pc:spChg>
        <pc:spChg chg="add mod">
          <ac:chgData name="Mohamed Ibissi" userId="90b6f8706c8cb808" providerId="LiveId" clId="{7F1EA6FA-D2B5-47DE-ABEC-8F224979B9F1}" dt="2024-11-12T06:01:29.089" v="635" actId="1035"/>
          <ac:spMkLst>
            <pc:docMk/>
            <pc:sldMk cId="1381256272" sldId="2134806665"/>
            <ac:spMk id="4" creationId="{40151B3D-DF58-15EF-D4D3-AE45566383D0}"/>
          </ac:spMkLst>
        </pc:spChg>
        <pc:spChg chg="add mod">
          <ac:chgData name="Mohamed Ibissi" userId="90b6f8706c8cb808" providerId="LiveId" clId="{7F1EA6FA-D2B5-47DE-ABEC-8F224979B9F1}" dt="2024-11-12T06:01:44.485" v="638" actId="20577"/>
          <ac:spMkLst>
            <pc:docMk/>
            <pc:sldMk cId="1381256272" sldId="2134806665"/>
            <ac:spMk id="6" creationId="{793C63C0-BBD1-D368-6841-86A9304851D4}"/>
          </ac:spMkLst>
        </pc:spChg>
        <pc:spChg chg="add mod">
          <ac:chgData name="Mohamed Ibissi" userId="90b6f8706c8cb808" providerId="LiveId" clId="{7F1EA6FA-D2B5-47DE-ABEC-8F224979B9F1}" dt="2024-11-12T06:01:50.363" v="640" actId="20577"/>
          <ac:spMkLst>
            <pc:docMk/>
            <pc:sldMk cId="1381256272" sldId="2134806665"/>
            <ac:spMk id="7" creationId="{503852D0-DF20-6069-3196-8A2AD3D7D26E}"/>
          </ac:spMkLst>
        </pc:spChg>
        <pc:spChg chg="add mod">
          <ac:chgData name="Mohamed Ibissi" userId="90b6f8706c8cb808" providerId="LiveId" clId="{7F1EA6FA-D2B5-47DE-ABEC-8F224979B9F1}" dt="2024-11-12T06:01:55.589" v="642" actId="20577"/>
          <ac:spMkLst>
            <pc:docMk/>
            <pc:sldMk cId="1381256272" sldId="2134806665"/>
            <ac:spMk id="8" creationId="{5081C21F-9C51-9841-4EE1-ECE0CB091ACA}"/>
          </ac:spMkLst>
        </pc:spChg>
        <pc:picChg chg="del">
          <ac:chgData name="Mohamed Ibissi" userId="90b6f8706c8cb808" providerId="LiveId" clId="{7F1EA6FA-D2B5-47DE-ABEC-8F224979B9F1}" dt="2024-11-12T06:32:42.898" v="942" actId="478"/>
          <ac:picMkLst>
            <pc:docMk/>
            <pc:sldMk cId="1381256272" sldId="2134806665"/>
            <ac:picMk id="2" creationId="{2D6071C2-F1D4-B05D-F110-24D4FFE893B3}"/>
          </ac:picMkLst>
        </pc:picChg>
        <pc:picChg chg="mod">
          <ac:chgData name="Mohamed Ibissi" userId="90b6f8706c8cb808" providerId="LiveId" clId="{7F1EA6FA-D2B5-47DE-ABEC-8F224979B9F1}" dt="2024-11-12T06:00:52.436" v="619" actId="14826"/>
          <ac:picMkLst>
            <pc:docMk/>
            <pc:sldMk cId="1381256272" sldId="2134806665"/>
            <ac:picMk id="5" creationId="{837BE4BE-AD50-5877-AF18-A4027081A108}"/>
          </ac:picMkLst>
        </pc:picChg>
        <pc:picChg chg="add mod ord">
          <ac:chgData name="Mohamed Ibissi" userId="90b6f8706c8cb808" providerId="LiveId" clId="{7F1EA6FA-D2B5-47DE-ABEC-8F224979B9F1}" dt="2024-11-12T06:32:46.931" v="944" actId="167"/>
          <ac:picMkLst>
            <pc:docMk/>
            <pc:sldMk cId="1381256272" sldId="2134806665"/>
            <ac:picMk id="9" creationId="{3D1A6FFC-FD0B-F8A3-A304-D98EAD2363E0}"/>
          </ac:picMkLst>
        </pc:picChg>
      </pc:sldChg>
      <pc:sldChg chg="addSp delSp modSp add mod">
        <pc:chgData name="Mohamed Ibissi" userId="90b6f8706c8cb808" providerId="LiveId" clId="{7F1EA6FA-D2B5-47DE-ABEC-8F224979B9F1}" dt="2024-11-12T06:32:57.529" v="947" actId="167"/>
        <pc:sldMkLst>
          <pc:docMk/>
          <pc:sldMk cId="566865454" sldId="2134806666"/>
        </pc:sldMkLst>
        <pc:spChg chg="mod">
          <ac:chgData name="Mohamed Ibissi" userId="90b6f8706c8cb808" providerId="LiveId" clId="{7F1EA6FA-D2B5-47DE-ABEC-8F224979B9F1}" dt="2024-11-12T06:05:21.651" v="729" actId="1076"/>
          <ac:spMkLst>
            <pc:docMk/>
            <pc:sldMk cId="566865454" sldId="2134806666"/>
            <ac:spMk id="3" creationId="{7396E201-F43A-8C69-4F70-00786B408FBB}"/>
          </ac:spMkLst>
        </pc:spChg>
        <pc:picChg chg="del">
          <ac:chgData name="Mohamed Ibissi" userId="90b6f8706c8cb808" providerId="LiveId" clId="{7F1EA6FA-D2B5-47DE-ABEC-8F224979B9F1}" dt="2024-11-12T06:32:52.825" v="945" actId="478"/>
          <ac:picMkLst>
            <pc:docMk/>
            <pc:sldMk cId="566865454" sldId="2134806666"/>
            <ac:picMk id="2" creationId="{84D17786-BB69-B207-2AE6-96F3852187DC}"/>
          </ac:picMkLst>
        </pc:picChg>
        <pc:picChg chg="del">
          <ac:chgData name="Mohamed Ibissi" userId="90b6f8706c8cb808" providerId="LiveId" clId="{7F1EA6FA-D2B5-47DE-ABEC-8F224979B9F1}" dt="2024-11-12T06:03:56.271" v="655" actId="478"/>
          <ac:picMkLst>
            <pc:docMk/>
            <pc:sldMk cId="566865454" sldId="2134806666"/>
            <ac:picMk id="5" creationId="{1B28FCA7-9689-7892-90D7-220928D203A7}"/>
          </ac:picMkLst>
        </pc:picChg>
        <pc:picChg chg="add mod">
          <ac:chgData name="Mohamed Ibissi" userId="90b6f8706c8cb808" providerId="LiveId" clId="{7F1EA6FA-D2B5-47DE-ABEC-8F224979B9F1}" dt="2024-11-12T06:04:08.356" v="659" actId="1076"/>
          <ac:picMkLst>
            <pc:docMk/>
            <pc:sldMk cId="566865454" sldId="2134806666"/>
            <ac:picMk id="6" creationId="{97568096-1EC3-31CE-4D38-11962845C8B7}"/>
          </ac:picMkLst>
        </pc:picChg>
        <pc:picChg chg="add mod ord">
          <ac:chgData name="Mohamed Ibissi" userId="90b6f8706c8cb808" providerId="LiveId" clId="{7F1EA6FA-D2B5-47DE-ABEC-8F224979B9F1}" dt="2024-11-12T06:32:57.529" v="947" actId="167"/>
          <ac:picMkLst>
            <pc:docMk/>
            <pc:sldMk cId="566865454" sldId="2134806666"/>
            <ac:picMk id="7" creationId="{339E7926-8ADA-AB98-3110-DB8FEC765089}"/>
          </ac:picMkLst>
        </pc:picChg>
      </pc:sldChg>
      <pc:sldChg chg="addSp delSp modSp add mod replId delAnim modAnim">
        <pc:chgData name="Mohamed Ibissi" userId="90b6f8706c8cb808" providerId="LiveId" clId="{7F1EA6FA-D2B5-47DE-ABEC-8F224979B9F1}" dt="2024-11-12T06:33:07.895" v="950" actId="167"/>
        <pc:sldMkLst>
          <pc:docMk/>
          <pc:sldMk cId="3789422374" sldId="2134806667"/>
        </pc:sldMkLst>
        <pc:spChg chg="del">
          <ac:chgData name="Mohamed Ibissi" userId="90b6f8706c8cb808" providerId="LiveId" clId="{7F1EA6FA-D2B5-47DE-ABEC-8F224979B9F1}" dt="2024-11-12T06:05:32.400" v="730" actId="478"/>
          <ac:spMkLst>
            <pc:docMk/>
            <pc:sldMk cId="3789422374" sldId="2134806667"/>
            <ac:spMk id="4" creationId="{2CD99E25-521B-CC70-9B58-4A0D5CA4E14F}"/>
          </ac:spMkLst>
        </pc:spChg>
        <pc:spChg chg="del">
          <ac:chgData name="Mohamed Ibissi" userId="90b6f8706c8cb808" providerId="LiveId" clId="{7F1EA6FA-D2B5-47DE-ABEC-8F224979B9F1}" dt="2024-11-12T06:05:32.400" v="730" actId="478"/>
          <ac:spMkLst>
            <pc:docMk/>
            <pc:sldMk cId="3789422374" sldId="2134806667"/>
            <ac:spMk id="6" creationId="{E2005189-9C0A-FC6B-AF7F-8CDAFCB7B84E}"/>
          </ac:spMkLst>
        </pc:spChg>
        <pc:spChg chg="del">
          <ac:chgData name="Mohamed Ibissi" userId="90b6f8706c8cb808" providerId="LiveId" clId="{7F1EA6FA-D2B5-47DE-ABEC-8F224979B9F1}" dt="2024-11-12T06:05:32.400" v="730" actId="478"/>
          <ac:spMkLst>
            <pc:docMk/>
            <pc:sldMk cId="3789422374" sldId="2134806667"/>
            <ac:spMk id="7" creationId="{A10A9F7C-D74A-12E0-A53B-13E47A9E1228}"/>
          </ac:spMkLst>
        </pc:spChg>
        <pc:spChg chg="del">
          <ac:chgData name="Mohamed Ibissi" userId="90b6f8706c8cb808" providerId="LiveId" clId="{7F1EA6FA-D2B5-47DE-ABEC-8F224979B9F1}" dt="2024-11-12T06:05:32.400" v="730" actId="478"/>
          <ac:spMkLst>
            <pc:docMk/>
            <pc:sldMk cId="3789422374" sldId="2134806667"/>
            <ac:spMk id="8" creationId="{2C6FC242-8C0D-F6ED-553A-3DBC55235299}"/>
          </ac:spMkLst>
        </pc:spChg>
        <pc:spChg chg="add mod">
          <ac:chgData name="Mohamed Ibissi" userId="90b6f8706c8cb808" providerId="LiveId" clId="{7F1EA6FA-D2B5-47DE-ABEC-8F224979B9F1}" dt="2024-11-12T06:06:38.699" v="747" actId="2085"/>
          <ac:spMkLst>
            <pc:docMk/>
            <pc:sldMk cId="3789422374" sldId="2134806667"/>
            <ac:spMk id="10" creationId="{FB142396-E59A-7B82-D430-4CF9EC212759}"/>
          </ac:spMkLst>
        </pc:spChg>
        <pc:spChg chg="add mod">
          <ac:chgData name="Mohamed Ibissi" userId="90b6f8706c8cb808" providerId="LiveId" clId="{7F1EA6FA-D2B5-47DE-ABEC-8F224979B9F1}" dt="2024-11-12T06:06:42.656" v="748" actId="1036"/>
          <ac:spMkLst>
            <pc:docMk/>
            <pc:sldMk cId="3789422374" sldId="2134806667"/>
            <ac:spMk id="11" creationId="{79852143-5704-E165-789A-85A6C7616BA4}"/>
          </ac:spMkLst>
        </pc:spChg>
        <pc:spChg chg="add mod">
          <ac:chgData name="Mohamed Ibissi" userId="90b6f8706c8cb808" providerId="LiveId" clId="{7F1EA6FA-D2B5-47DE-ABEC-8F224979B9F1}" dt="2024-11-12T06:07:10.589" v="761" actId="1038"/>
          <ac:spMkLst>
            <pc:docMk/>
            <pc:sldMk cId="3789422374" sldId="2134806667"/>
            <ac:spMk id="12" creationId="{7FFE95B5-2570-79CC-4493-CEE4980AD33C}"/>
          </ac:spMkLst>
        </pc:spChg>
        <pc:spChg chg="add mod">
          <ac:chgData name="Mohamed Ibissi" userId="90b6f8706c8cb808" providerId="LiveId" clId="{7F1EA6FA-D2B5-47DE-ABEC-8F224979B9F1}" dt="2024-11-12T06:07:23.713" v="770" actId="1036"/>
          <ac:spMkLst>
            <pc:docMk/>
            <pc:sldMk cId="3789422374" sldId="2134806667"/>
            <ac:spMk id="13" creationId="{A045759D-3279-C2AC-F587-08BD4A2388D5}"/>
          </ac:spMkLst>
        </pc:spChg>
        <pc:spChg chg="add mod">
          <ac:chgData name="Mohamed Ibissi" userId="90b6f8706c8cb808" providerId="LiveId" clId="{7F1EA6FA-D2B5-47DE-ABEC-8F224979B9F1}" dt="2024-11-12T06:08:57.930" v="830" actId="1035"/>
          <ac:spMkLst>
            <pc:docMk/>
            <pc:sldMk cId="3789422374" sldId="2134806667"/>
            <ac:spMk id="14" creationId="{8395F7C1-A1AB-9775-449E-C83BF93444AB}"/>
          </ac:spMkLst>
        </pc:spChg>
        <pc:spChg chg="add mod">
          <ac:chgData name="Mohamed Ibissi" userId="90b6f8706c8cb808" providerId="LiveId" clId="{7F1EA6FA-D2B5-47DE-ABEC-8F224979B9F1}" dt="2024-11-12T06:07:29.094" v="773" actId="1035"/>
          <ac:spMkLst>
            <pc:docMk/>
            <pc:sldMk cId="3789422374" sldId="2134806667"/>
            <ac:spMk id="15" creationId="{4B9142D6-130D-4163-E55F-FE1D80057AFA}"/>
          </ac:spMkLst>
        </pc:spChg>
        <pc:spChg chg="add mod">
          <ac:chgData name="Mohamed Ibissi" userId="90b6f8706c8cb808" providerId="LiveId" clId="{7F1EA6FA-D2B5-47DE-ABEC-8F224979B9F1}" dt="2024-11-12T06:08:07.848" v="799" actId="1036"/>
          <ac:spMkLst>
            <pc:docMk/>
            <pc:sldMk cId="3789422374" sldId="2134806667"/>
            <ac:spMk id="16" creationId="{674FC7F6-BE7E-96F7-774E-BCC8FCF90969}"/>
          </ac:spMkLst>
        </pc:spChg>
        <pc:spChg chg="add mod">
          <ac:chgData name="Mohamed Ibissi" userId="90b6f8706c8cb808" providerId="LiveId" clId="{7F1EA6FA-D2B5-47DE-ABEC-8F224979B9F1}" dt="2024-11-12T06:08:04.455" v="798" actId="1037"/>
          <ac:spMkLst>
            <pc:docMk/>
            <pc:sldMk cId="3789422374" sldId="2134806667"/>
            <ac:spMk id="17" creationId="{6A33AD59-DFF2-C4F2-0768-89A0E8364A25}"/>
          </ac:spMkLst>
        </pc:spChg>
        <pc:spChg chg="add mod">
          <ac:chgData name="Mohamed Ibissi" userId="90b6f8706c8cb808" providerId="LiveId" clId="{7F1EA6FA-D2B5-47DE-ABEC-8F224979B9F1}" dt="2024-11-12T06:08:02.390" v="797" actId="1038"/>
          <ac:spMkLst>
            <pc:docMk/>
            <pc:sldMk cId="3789422374" sldId="2134806667"/>
            <ac:spMk id="18" creationId="{419607B1-E17E-69A6-CF80-0065B6918399}"/>
          </ac:spMkLst>
        </pc:spChg>
        <pc:spChg chg="add mod">
          <ac:chgData name="Mohamed Ibissi" userId="90b6f8706c8cb808" providerId="LiveId" clId="{7F1EA6FA-D2B5-47DE-ABEC-8F224979B9F1}" dt="2024-11-12T06:07:57.510" v="794" actId="1037"/>
          <ac:spMkLst>
            <pc:docMk/>
            <pc:sldMk cId="3789422374" sldId="2134806667"/>
            <ac:spMk id="19" creationId="{E87732A0-B25C-D74B-9E33-B905E8DA8B7B}"/>
          </ac:spMkLst>
        </pc:spChg>
        <pc:spChg chg="add mod">
          <ac:chgData name="Mohamed Ibissi" userId="90b6f8706c8cb808" providerId="LiveId" clId="{7F1EA6FA-D2B5-47DE-ABEC-8F224979B9F1}" dt="2024-11-12T06:08:16.150" v="806" actId="1036"/>
          <ac:spMkLst>
            <pc:docMk/>
            <pc:sldMk cId="3789422374" sldId="2134806667"/>
            <ac:spMk id="20" creationId="{7D92794A-EE3F-C54B-83D3-FA5DFABA08E9}"/>
          </ac:spMkLst>
        </pc:spChg>
        <pc:spChg chg="add mod">
          <ac:chgData name="Mohamed Ibissi" userId="90b6f8706c8cb808" providerId="LiveId" clId="{7F1EA6FA-D2B5-47DE-ABEC-8F224979B9F1}" dt="2024-11-12T06:08:42.642" v="825" actId="1037"/>
          <ac:spMkLst>
            <pc:docMk/>
            <pc:sldMk cId="3789422374" sldId="2134806667"/>
            <ac:spMk id="21" creationId="{AB0C2B64-8DFB-08A9-3882-281023371681}"/>
          </ac:spMkLst>
        </pc:spChg>
        <pc:spChg chg="add mod">
          <ac:chgData name="Mohamed Ibissi" userId="90b6f8706c8cb808" providerId="LiveId" clId="{7F1EA6FA-D2B5-47DE-ABEC-8F224979B9F1}" dt="2024-11-12T06:08:38.372" v="824" actId="1038"/>
          <ac:spMkLst>
            <pc:docMk/>
            <pc:sldMk cId="3789422374" sldId="2134806667"/>
            <ac:spMk id="22" creationId="{328CC171-69BA-2408-24F2-6ED17A553FFC}"/>
          </ac:spMkLst>
        </pc:spChg>
        <pc:spChg chg="add mod">
          <ac:chgData name="Mohamed Ibissi" userId="90b6f8706c8cb808" providerId="LiveId" clId="{7F1EA6FA-D2B5-47DE-ABEC-8F224979B9F1}" dt="2024-11-12T06:08:47.331" v="826" actId="1037"/>
          <ac:spMkLst>
            <pc:docMk/>
            <pc:sldMk cId="3789422374" sldId="2134806667"/>
            <ac:spMk id="23" creationId="{1B280E62-678B-365E-1CBC-8CCA67E6FC26}"/>
          </ac:spMkLst>
        </pc:spChg>
        <pc:picChg chg="del">
          <ac:chgData name="Mohamed Ibissi" userId="90b6f8706c8cb808" providerId="LiveId" clId="{7F1EA6FA-D2B5-47DE-ABEC-8F224979B9F1}" dt="2024-11-12T06:33:04.032" v="948" actId="478"/>
          <ac:picMkLst>
            <pc:docMk/>
            <pc:sldMk cId="3789422374" sldId="2134806667"/>
            <ac:picMk id="2" creationId="{4B278DF9-949C-DEA0-7116-7B2B9C787E07}"/>
          </ac:picMkLst>
        </pc:picChg>
        <pc:picChg chg="del">
          <ac:chgData name="Mohamed Ibissi" userId="90b6f8706c8cb808" providerId="LiveId" clId="{7F1EA6FA-D2B5-47DE-ABEC-8F224979B9F1}" dt="2024-11-12T06:05:32.400" v="730" actId="478"/>
          <ac:picMkLst>
            <pc:docMk/>
            <pc:sldMk cId="3789422374" sldId="2134806667"/>
            <ac:picMk id="5" creationId="{0687C20B-EED5-8E08-938C-743C4724866B}"/>
          </ac:picMkLst>
        </pc:picChg>
        <pc:picChg chg="add mod">
          <ac:chgData name="Mohamed Ibissi" userId="90b6f8706c8cb808" providerId="LiveId" clId="{7F1EA6FA-D2B5-47DE-ABEC-8F224979B9F1}" dt="2024-11-12T06:05:32.836" v="731"/>
          <ac:picMkLst>
            <pc:docMk/>
            <pc:sldMk cId="3789422374" sldId="2134806667"/>
            <ac:picMk id="9" creationId="{584FBA11-9C0F-452E-74A8-3D68A32EECD5}"/>
          </ac:picMkLst>
        </pc:picChg>
        <pc:picChg chg="add mod ord">
          <ac:chgData name="Mohamed Ibissi" userId="90b6f8706c8cb808" providerId="LiveId" clId="{7F1EA6FA-D2B5-47DE-ABEC-8F224979B9F1}" dt="2024-11-12T06:33:07.895" v="950" actId="167"/>
          <ac:picMkLst>
            <pc:docMk/>
            <pc:sldMk cId="3789422374" sldId="2134806667"/>
            <ac:picMk id="24" creationId="{59CDE2D4-422E-CD14-5850-67B3B3A1D4D6}"/>
          </ac:picMkLst>
        </pc:picChg>
      </pc:sldChg>
      <pc:sldChg chg="addSp delSp modSp add mod delAnim modAnim">
        <pc:chgData name="Mohamed Ibissi" userId="90b6f8706c8cb808" providerId="LiveId" clId="{7F1EA6FA-D2B5-47DE-ABEC-8F224979B9F1}" dt="2024-11-12T06:33:38.015" v="953" actId="167"/>
        <pc:sldMkLst>
          <pc:docMk/>
          <pc:sldMk cId="830839928" sldId="2134806668"/>
        </pc:sldMkLst>
        <pc:spChg chg="mod">
          <ac:chgData name="Mohamed Ibissi" userId="90b6f8706c8cb808" providerId="LiveId" clId="{7F1EA6FA-D2B5-47DE-ABEC-8F224979B9F1}" dt="2024-11-12T06:12:44.396" v="880" actId="1035"/>
          <ac:spMkLst>
            <pc:docMk/>
            <pc:sldMk cId="830839928" sldId="2134806668"/>
            <ac:spMk id="3" creationId="{DAFB6775-66AB-504B-1078-C027A4C57BAA}"/>
          </ac:spMkLst>
        </pc:spChg>
        <pc:spChg chg="add del mod">
          <ac:chgData name="Mohamed Ibissi" userId="90b6f8706c8cb808" providerId="LiveId" clId="{7F1EA6FA-D2B5-47DE-ABEC-8F224979B9F1}" dt="2024-11-12T06:14:07.148" v="884" actId="21"/>
          <ac:spMkLst>
            <pc:docMk/>
            <pc:sldMk cId="830839928" sldId="2134806668"/>
            <ac:spMk id="7" creationId="{5BA5A758-097F-8F51-8C53-E36540BDC953}"/>
          </ac:spMkLst>
        </pc:spChg>
        <pc:picChg chg="del">
          <ac:chgData name="Mohamed Ibissi" userId="90b6f8706c8cb808" providerId="LiveId" clId="{7F1EA6FA-D2B5-47DE-ABEC-8F224979B9F1}" dt="2024-11-12T06:33:34.451" v="951" actId="478"/>
          <ac:picMkLst>
            <pc:docMk/>
            <pc:sldMk cId="830839928" sldId="2134806668"/>
            <ac:picMk id="2" creationId="{3D74E2D8-083C-952B-8C56-C0051E827B82}"/>
          </ac:picMkLst>
        </pc:picChg>
        <pc:picChg chg="add mod">
          <ac:chgData name="Mohamed Ibissi" userId="90b6f8706c8cb808" providerId="LiveId" clId="{7F1EA6FA-D2B5-47DE-ABEC-8F224979B9F1}" dt="2024-11-12T06:11:52.131" v="849" actId="1037"/>
          <ac:picMkLst>
            <pc:docMk/>
            <pc:sldMk cId="830839928" sldId="2134806668"/>
            <ac:picMk id="5" creationId="{EA8184A7-09B6-B5BE-C103-68D9A051798B}"/>
          </ac:picMkLst>
        </pc:picChg>
        <pc:picChg chg="del">
          <ac:chgData name="Mohamed Ibissi" userId="90b6f8706c8cb808" providerId="LiveId" clId="{7F1EA6FA-D2B5-47DE-ABEC-8F224979B9F1}" dt="2024-11-12T06:10:32.018" v="840" actId="478"/>
          <ac:picMkLst>
            <pc:docMk/>
            <pc:sldMk cId="830839928" sldId="2134806668"/>
            <ac:picMk id="6" creationId="{09B18476-7C5E-426E-F744-44F208361313}"/>
          </ac:picMkLst>
        </pc:picChg>
        <pc:picChg chg="add mod ord">
          <ac:chgData name="Mohamed Ibissi" userId="90b6f8706c8cb808" providerId="LiveId" clId="{7F1EA6FA-D2B5-47DE-ABEC-8F224979B9F1}" dt="2024-11-12T06:33:38.015" v="953" actId="167"/>
          <ac:picMkLst>
            <pc:docMk/>
            <pc:sldMk cId="830839928" sldId="2134806668"/>
            <ac:picMk id="8" creationId="{E5EDB23D-C3D9-02AD-9C53-AB25DCD68159}"/>
          </ac:picMkLst>
        </pc:picChg>
      </pc:sldChg>
      <pc:sldChg chg="addSp delSp modSp add mod replId delAnim modAnim">
        <pc:chgData name="Mohamed Ibissi" userId="90b6f8706c8cb808" providerId="LiveId" clId="{7F1EA6FA-D2B5-47DE-ABEC-8F224979B9F1}" dt="2024-11-12T20:52:28.923" v="3363" actId="20577"/>
        <pc:sldMkLst>
          <pc:docMk/>
          <pc:sldMk cId="3193817897" sldId="2134806669"/>
        </pc:sldMkLst>
        <pc:spChg chg="mod">
          <ac:chgData name="Mohamed Ibissi" userId="90b6f8706c8cb808" providerId="LiveId" clId="{7F1EA6FA-D2B5-47DE-ABEC-8F224979B9F1}" dt="2024-11-12T20:52:28.923" v="3363" actId="20577"/>
          <ac:spMkLst>
            <pc:docMk/>
            <pc:sldMk cId="3193817897" sldId="2134806669"/>
            <ac:spMk id="3" creationId="{74572CDB-C0ED-DE18-BEA9-984526BA5BDA}"/>
          </ac:spMkLst>
        </pc:spChg>
        <pc:spChg chg="add mod">
          <ac:chgData name="Mohamed Ibissi" userId="90b6f8706c8cb808" providerId="LiveId" clId="{7F1EA6FA-D2B5-47DE-ABEC-8F224979B9F1}" dt="2024-11-12T06:14:38.778" v="894" actId="20577"/>
          <ac:spMkLst>
            <pc:docMk/>
            <pc:sldMk cId="3193817897" sldId="2134806669"/>
            <ac:spMk id="5" creationId="{C728CA8C-301B-8889-F3FC-5DDE902A1BD5}"/>
          </ac:spMkLst>
        </pc:spChg>
        <pc:spChg chg="add mod">
          <ac:chgData name="Mohamed Ibissi" userId="90b6f8706c8cb808" providerId="LiveId" clId="{7F1EA6FA-D2B5-47DE-ABEC-8F224979B9F1}" dt="2024-11-12T06:14:44.017" v="896" actId="20577"/>
          <ac:spMkLst>
            <pc:docMk/>
            <pc:sldMk cId="3193817897" sldId="2134806669"/>
            <ac:spMk id="6" creationId="{20E651D4-2E1D-E2E2-0217-E1C11BF7B2CE}"/>
          </ac:spMkLst>
        </pc:spChg>
        <pc:spChg chg="add mod">
          <ac:chgData name="Mohamed Ibissi" userId="90b6f8706c8cb808" providerId="LiveId" clId="{7F1EA6FA-D2B5-47DE-ABEC-8F224979B9F1}" dt="2024-11-12T06:14:29.898" v="891" actId="1037"/>
          <ac:spMkLst>
            <pc:docMk/>
            <pc:sldMk cId="3193817897" sldId="2134806669"/>
            <ac:spMk id="7" creationId="{5BA5A758-097F-8F51-8C53-E36540BDC953}"/>
          </ac:spMkLst>
        </pc:spChg>
        <pc:spChg chg="add mod">
          <ac:chgData name="Mohamed Ibissi" userId="90b6f8706c8cb808" providerId="LiveId" clId="{7F1EA6FA-D2B5-47DE-ABEC-8F224979B9F1}" dt="2024-11-12T06:14:57.806" v="899" actId="20577"/>
          <ac:spMkLst>
            <pc:docMk/>
            <pc:sldMk cId="3193817897" sldId="2134806669"/>
            <ac:spMk id="8" creationId="{6F2DC96A-03BD-8894-A58B-55D75E4DE508}"/>
          </ac:spMkLst>
        </pc:spChg>
        <pc:spChg chg="del">
          <ac:chgData name="Mohamed Ibissi" userId="90b6f8706c8cb808" providerId="LiveId" clId="{7F1EA6FA-D2B5-47DE-ABEC-8F224979B9F1}" dt="2024-11-12T06:10:36.410" v="841" actId="478"/>
          <ac:spMkLst>
            <pc:docMk/>
            <pc:sldMk cId="3193817897" sldId="2134806669"/>
            <ac:spMk id="10" creationId="{932138DD-797E-B08C-AF09-694A812FCC7A}"/>
          </ac:spMkLst>
        </pc:spChg>
        <pc:spChg chg="del">
          <ac:chgData name="Mohamed Ibissi" userId="90b6f8706c8cb808" providerId="LiveId" clId="{7F1EA6FA-D2B5-47DE-ABEC-8F224979B9F1}" dt="2024-11-12T06:10:36.410" v="841" actId="478"/>
          <ac:spMkLst>
            <pc:docMk/>
            <pc:sldMk cId="3193817897" sldId="2134806669"/>
            <ac:spMk id="11" creationId="{8083B969-FBC7-EF66-F39B-CC474FE276F1}"/>
          </ac:spMkLst>
        </pc:spChg>
        <pc:spChg chg="del">
          <ac:chgData name="Mohamed Ibissi" userId="90b6f8706c8cb808" providerId="LiveId" clId="{7F1EA6FA-D2B5-47DE-ABEC-8F224979B9F1}" dt="2024-11-12T06:10:36.410" v="841" actId="478"/>
          <ac:spMkLst>
            <pc:docMk/>
            <pc:sldMk cId="3193817897" sldId="2134806669"/>
            <ac:spMk id="12" creationId="{A36DC87C-7950-B2A9-D236-36EDEE8126AF}"/>
          </ac:spMkLst>
        </pc:spChg>
        <pc:spChg chg="del">
          <ac:chgData name="Mohamed Ibissi" userId="90b6f8706c8cb808" providerId="LiveId" clId="{7F1EA6FA-D2B5-47DE-ABEC-8F224979B9F1}" dt="2024-11-12T06:10:36.410" v="841" actId="478"/>
          <ac:spMkLst>
            <pc:docMk/>
            <pc:sldMk cId="3193817897" sldId="2134806669"/>
            <ac:spMk id="13" creationId="{91C1E1E3-A4D9-156F-A63B-177C9EC2BB4C}"/>
          </ac:spMkLst>
        </pc:spChg>
        <pc:spChg chg="del">
          <ac:chgData name="Mohamed Ibissi" userId="90b6f8706c8cb808" providerId="LiveId" clId="{7F1EA6FA-D2B5-47DE-ABEC-8F224979B9F1}" dt="2024-11-12T06:10:36.410" v="841" actId="478"/>
          <ac:spMkLst>
            <pc:docMk/>
            <pc:sldMk cId="3193817897" sldId="2134806669"/>
            <ac:spMk id="14" creationId="{31872D4E-9DC7-3C8C-4CA0-8CE42F760C2D}"/>
          </ac:spMkLst>
        </pc:spChg>
        <pc:spChg chg="del">
          <ac:chgData name="Mohamed Ibissi" userId="90b6f8706c8cb808" providerId="LiveId" clId="{7F1EA6FA-D2B5-47DE-ABEC-8F224979B9F1}" dt="2024-11-12T06:10:36.410" v="841" actId="478"/>
          <ac:spMkLst>
            <pc:docMk/>
            <pc:sldMk cId="3193817897" sldId="2134806669"/>
            <ac:spMk id="15" creationId="{6056DFD8-7856-DB08-8AE4-778DE8AED557}"/>
          </ac:spMkLst>
        </pc:spChg>
        <pc:spChg chg="del">
          <ac:chgData name="Mohamed Ibissi" userId="90b6f8706c8cb808" providerId="LiveId" clId="{7F1EA6FA-D2B5-47DE-ABEC-8F224979B9F1}" dt="2024-11-12T06:10:36.410" v="841" actId="478"/>
          <ac:spMkLst>
            <pc:docMk/>
            <pc:sldMk cId="3193817897" sldId="2134806669"/>
            <ac:spMk id="16" creationId="{EA0D7A88-3BAA-D110-519C-84E898534D0F}"/>
          </ac:spMkLst>
        </pc:spChg>
        <pc:spChg chg="del">
          <ac:chgData name="Mohamed Ibissi" userId="90b6f8706c8cb808" providerId="LiveId" clId="{7F1EA6FA-D2B5-47DE-ABEC-8F224979B9F1}" dt="2024-11-12T06:10:36.410" v="841" actId="478"/>
          <ac:spMkLst>
            <pc:docMk/>
            <pc:sldMk cId="3193817897" sldId="2134806669"/>
            <ac:spMk id="17" creationId="{B57ADBFC-0BE2-7D26-657F-011E9D0FDF26}"/>
          </ac:spMkLst>
        </pc:spChg>
        <pc:spChg chg="del">
          <ac:chgData name="Mohamed Ibissi" userId="90b6f8706c8cb808" providerId="LiveId" clId="{7F1EA6FA-D2B5-47DE-ABEC-8F224979B9F1}" dt="2024-11-12T06:10:36.410" v="841" actId="478"/>
          <ac:spMkLst>
            <pc:docMk/>
            <pc:sldMk cId="3193817897" sldId="2134806669"/>
            <ac:spMk id="18" creationId="{4631A317-4D77-457D-CA2F-D0B428D77372}"/>
          </ac:spMkLst>
        </pc:spChg>
        <pc:spChg chg="del">
          <ac:chgData name="Mohamed Ibissi" userId="90b6f8706c8cb808" providerId="LiveId" clId="{7F1EA6FA-D2B5-47DE-ABEC-8F224979B9F1}" dt="2024-11-12T06:10:36.410" v="841" actId="478"/>
          <ac:spMkLst>
            <pc:docMk/>
            <pc:sldMk cId="3193817897" sldId="2134806669"/>
            <ac:spMk id="19" creationId="{DBDC7F2B-101E-BA62-BBA6-31ADA123BEBB}"/>
          </ac:spMkLst>
        </pc:spChg>
        <pc:spChg chg="del">
          <ac:chgData name="Mohamed Ibissi" userId="90b6f8706c8cb808" providerId="LiveId" clId="{7F1EA6FA-D2B5-47DE-ABEC-8F224979B9F1}" dt="2024-11-12T06:10:36.410" v="841" actId="478"/>
          <ac:spMkLst>
            <pc:docMk/>
            <pc:sldMk cId="3193817897" sldId="2134806669"/>
            <ac:spMk id="20" creationId="{ACF8A2F9-6425-EEBF-4343-6459BE32235F}"/>
          </ac:spMkLst>
        </pc:spChg>
        <pc:spChg chg="del">
          <ac:chgData name="Mohamed Ibissi" userId="90b6f8706c8cb808" providerId="LiveId" clId="{7F1EA6FA-D2B5-47DE-ABEC-8F224979B9F1}" dt="2024-11-12T06:10:36.410" v="841" actId="478"/>
          <ac:spMkLst>
            <pc:docMk/>
            <pc:sldMk cId="3193817897" sldId="2134806669"/>
            <ac:spMk id="21" creationId="{7CDC9D9E-19EB-57BA-E663-218326E30E5C}"/>
          </ac:spMkLst>
        </pc:spChg>
        <pc:spChg chg="del">
          <ac:chgData name="Mohamed Ibissi" userId="90b6f8706c8cb808" providerId="LiveId" clId="{7F1EA6FA-D2B5-47DE-ABEC-8F224979B9F1}" dt="2024-11-12T06:10:36.410" v="841" actId="478"/>
          <ac:spMkLst>
            <pc:docMk/>
            <pc:sldMk cId="3193817897" sldId="2134806669"/>
            <ac:spMk id="22" creationId="{5166F3C2-AF9A-51C3-25FA-3986C496A752}"/>
          </ac:spMkLst>
        </pc:spChg>
        <pc:spChg chg="del">
          <ac:chgData name="Mohamed Ibissi" userId="90b6f8706c8cb808" providerId="LiveId" clId="{7F1EA6FA-D2B5-47DE-ABEC-8F224979B9F1}" dt="2024-11-12T06:10:36.410" v="841" actId="478"/>
          <ac:spMkLst>
            <pc:docMk/>
            <pc:sldMk cId="3193817897" sldId="2134806669"/>
            <ac:spMk id="23" creationId="{4B30AA3C-8485-C56C-5074-16DA65DD1136}"/>
          </ac:spMkLst>
        </pc:spChg>
        <pc:spChg chg="add mod">
          <ac:chgData name="Mohamed Ibissi" userId="90b6f8706c8cb808" providerId="LiveId" clId="{7F1EA6FA-D2B5-47DE-ABEC-8F224979B9F1}" dt="2024-11-12T06:14:55.085" v="898" actId="1076"/>
          <ac:spMkLst>
            <pc:docMk/>
            <pc:sldMk cId="3193817897" sldId="2134806669"/>
            <ac:spMk id="24" creationId="{0C560295-8111-12EA-A435-1C91C3A5A48F}"/>
          </ac:spMkLst>
        </pc:spChg>
        <pc:spChg chg="add mod">
          <ac:chgData name="Mohamed Ibissi" userId="90b6f8706c8cb808" providerId="LiveId" clId="{7F1EA6FA-D2B5-47DE-ABEC-8F224979B9F1}" dt="2024-11-12T06:14:55.085" v="898" actId="1076"/>
          <ac:spMkLst>
            <pc:docMk/>
            <pc:sldMk cId="3193817897" sldId="2134806669"/>
            <ac:spMk id="25" creationId="{55AB99B5-2207-E013-8C08-4AA58583EED2}"/>
          </ac:spMkLst>
        </pc:spChg>
        <pc:picChg chg="del">
          <ac:chgData name="Mohamed Ibissi" userId="90b6f8706c8cb808" providerId="LiveId" clId="{7F1EA6FA-D2B5-47DE-ABEC-8F224979B9F1}" dt="2024-11-12T06:33:42.189" v="954" actId="478"/>
          <ac:picMkLst>
            <pc:docMk/>
            <pc:sldMk cId="3193817897" sldId="2134806669"/>
            <ac:picMk id="2" creationId="{1B669A83-9157-A766-35C4-4B91A08F2F64}"/>
          </ac:picMkLst>
        </pc:picChg>
        <pc:picChg chg="add mod">
          <ac:chgData name="Mohamed Ibissi" userId="90b6f8706c8cb808" providerId="LiveId" clId="{7F1EA6FA-D2B5-47DE-ABEC-8F224979B9F1}" dt="2024-11-12T06:13:36.642" v="882" actId="14826"/>
          <ac:picMkLst>
            <pc:docMk/>
            <pc:sldMk cId="3193817897" sldId="2134806669"/>
            <ac:picMk id="4" creationId="{C6DBCDF2-E7AA-9271-B5A9-8EDA35445354}"/>
          </ac:picMkLst>
        </pc:picChg>
        <pc:picChg chg="del">
          <ac:chgData name="Mohamed Ibissi" userId="90b6f8706c8cb808" providerId="LiveId" clId="{7F1EA6FA-D2B5-47DE-ABEC-8F224979B9F1}" dt="2024-11-12T06:10:36.410" v="841" actId="478"/>
          <ac:picMkLst>
            <pc:docMk/>
            <pc:sldMk cId="3193817897" sldId="2134806669"/>
            <ac:picMk id="9" creationId="{82007B83-E786-0087-8244-148A0236A768}"/>
          </ac:picMkLst>
        </pc:picChg>
        <pc:picChg chg="add mod ord">
          <ac:chgData name="Mohamed Ibissi" userId="90b6f8706c8cb808" providerId="LiveId" clId="{7F1EA6FA-D2B5-47DE-ABEC-8F224979B9F1}" dt="2024-11-12T06:33:46.128" v="956" actId="167"/>
          <ac:picMkLst>
            <pc:docMk/>
            <pc:sldMk cId="3193817897" sldId="2134806669"/>
            <ac:picMk id="26" creationId="{25B64E0B-F8A7-1E67-37D7-EEA6ECB7A7CF}"/>
          </ac:picMkLst>
        </pc:picChg>
      </pc:sldChg>
      <pc:sldChg chg="addSp delSp modSp add mod">
        <pc:chgData name="Mohamed Ibissi" userId="90b6f8706c8cb808" providerId="LiveId" clId="{7F1EA6FA-D2B5-47DE-ABEC-8F224979B9F1}" dt="2024-11-12T20:04:11.636" v="2487" actId="20577"/>
        <pc:sldMkLst>
          <pc:docMk/>
          <pc:sldMk cId="1294368727" sldId="2134806670"/>
        </pc:sldMkLst>
        <pc:spChg chg="add mod">
          <ac:chgData name="Mohamed Ibissi" userId="90b6f8706c8cb808" providerId="LiveId" clId="{7F1EA6FA-D2B5-47DE-ABEC-8F224979B9F1}" dt="2024-11-12T11:41:41.015" v="1618" actId="14100"/>
          <ac:spMkLst>
            <pc:docMk/>
            <pc:sldMk cId="1294368727" sldId="2134806670"/>
            <ac:spMk id="4" creationId="{1303F71E-07D3-E8F8-A02D-17C719F9805C}"/>
          </ac:spMkLst>
        </pc:spChg>
        <pc:spChg chg="add mod">
          <ac:chgData name="Mohamed Ibissi" userId="90b6f8706c8cb808" providerId="LiveId" clId="{7F1EA6FA-D2B5-47DE-ABEC-8F224979B9F1}" dt="2024-11-12T11:42:10.499" v="1622" actId="1076"/>
          <ac:spMkLst>
            <pc:docMk/>
            <pc:sldMk cId="1294368727" sldId="2134806670"/>
            <ac:spMk id="5" creationId="{0B574DA3-EA8B-0C2F-B9B5-EEAC6B73ECE7}"/>
          </ac:spMkLst>
        </pc:spChg>
        <pc:spChg chg="mod">
          <ac:chgData name="Mohamed Ibissi" userId="90b6f8706c8cb808" providerId="LiveId" clId="{7F1EA6FA-D2B5-47DE-ABEC-8F224979B9F1}" dt="2024-11-12T20:04:11.636" v="2487" actId="20577"/>
          <ac:spMkLst>
            <pc:docMk/>
            <pc:sldMk cId="1294368727" sldId="2134806670"/>
            <ac:spMk id="6" creationId="{D4331248-129C-7B71-43D4-682B23E3C838}"/>
          </ac:spMkLst>
        </pc:spChg>
        <pc:picChg chg="add mod">
          <ac:chgData name="Mohamed Ibissi" userId="90b6f8706c8cb808" providerId="LiveId" clId="{7F1EA6FA-D2B5-47DE-ABEC-8F224979B9F1}" dt="2024-11-12T11:38:55.392" v="1552"/>
          <ac:picMkLst>
            <pc:docMk/>
            <pc:sldMk cId="1294368727" sldId="2134806670"/>
            <ac:picMk id="2" creationId="{C12B8C2E-FF22-9FCD-257B-0F5A3D073318}"/>
          </ac:picMkLst>
        </pc:picChg>
        <pc:picChg chg="del">
          <ac:chgData name="Mohamed Ibissi" userId="90b6f8706c8cb808" providerId="LiveId" clId="{7F1EA6FA-D2B5-47DE-ABEC-8F224979B9F1}" dt="2024-11-12T11:42:19.195" v="1623" actId="478"/>
          <ac:picMkLst>
            <pc:docMk/>
            <pc:sldMk cId="1294368727" sldId="2134806670"/>
            <ac:picMk id="7" creationId="{1990098B-91B8-E89D-DB85-6FB0BC5304BB}"/>
          </ac:picMkLst>
        </pc:picChg>
        <pc:picChg chg="add mod">
          <ac:chgData name="Mohamed Ibissi" userId="90b6f8706c8cb808" providerId="LiveId" clId="{7F1EA6FA-D2B5-47DE-ABEC-8F224979B9F1}" dt="2024-11-12T11:42:34.580" v="1624"/>
          <ac:picMkLst>
            <pc:docMk/>
            <pc:sldMk cId="1294368727" sldId="2134806670"/>
            <ac:picMk id="8" creationId="{25083D97-5804-F563-177B-EAFB73A1E4AB}"/>
          </ac:picMkLst>
        </pc:picChg>
        <pc:picChg chg="del">
          <ac:chgData name="Mohamed Ibissi" userId="90b6f8706c8cb808" providerId="LiveId" clId="{7F1EA6FA-D2B5-47DE-ABEC-8F224979B9F1}" dt="2024-11-12T11:37:53.262" v="1486" actId="478"/>
          <ac:picMkLst>
            <pc:docMk/>
            <pc:sldMk cId="1294368727" sldId="2134806670"/>
            <ac:picMk id="13" creationId="{C16D5155-F47D-4E7F-C80C-BB5F8BE0C162}"/>
          </ac:picMkLst>
        </pc:picChg>
      </pc:sldChg>
      <pc:sldChg chg="addSp delSp modSp add mod">
        <pc:chgData name="Mohamed Ibissi" userId="90b6f8706c8cb808" providerId="LiveId" clId="{7F1EA6FA-D2B5-47DE-ABEC-8F224979B9F1}" dt="2024-11-12T20:54:38.447" v="3410" actId="6549"/>
        <pc:sldMkLst>
          <pc:docMk/>
          <pc:sldMk cId="518364502" sldId="2134806671"/>
        </pc:sldMkLst>
        <pc:spChg chg="mod">
          <ac:chgData name="Mohamed Ibissi" userId="90b6f8706c8cb808" providerId="LiveId" clId="{7F1EA6FA-D2B5-47DE-ABEC-8F224979B9F1}" dt="2024-11-12T20:54:38.447" v="3410" actId="6549"/>
          <ac:spMkLst>
            <pc:docMk/>
            <pc:sldMk cId="518364502" sldId="2134806671"/>
            <ac:spMk id="14" creationId="{B1EF6E8E-7D6F-2DF2-A16D-B7C875D6BA6A}"/>
          </ac:spMkLst>
        </pc:spChg>
        <pc:spChg chg="del">
          <ac:chgData name="Mohamed Ibissi" userId="90b6f8706c8cb808" providerId="LiveId" clId="{7F1EA6FA-D2B5-47DE-ABEC-8F224979B9F1}" dt="2024-11-12T11:33:42.936" v="1381" actId="478"/>
          <ac:spMkLst>
            <pc:docMk/>
            <pc:sldMk cId="518364502" sldId="2134806671"/>
            <ac:spMk id="18" creationId="{C8593CE6-3924-2E94-DA02-5B914C976417}"/>
          </ac:spMkLst>
        </pc:spChg>
        <pc:picChg chg="add mod">
          <ac:chgData name="Mohamed Ibissi" userId="90b6f8706c8cb808" providerId="LiveId" clId="{7F1EA6FA-D2B5-47DE-ABEC-8F224979B9F1}" dt="2024-11-12T11:34:48.404" v="1386" actId="1076"/>
          <ac:picMkLst>
            <pc:docMk/>
            <pc:sldMk cId="518364502" sldId="2134806671"/>
            <ac:picMk id="2" creationId="{E75BA84E-1B13-3B2C-7DF8-2CB17872E6E6}"/>
          </ac:picMkLst>
        </pc:picChg>
      </pc:sldChg>
      <pc:sldChg chg="addSp delSp modSp add mod">
        <pc:chgData name="Mohamed Ibissi" userId="90b6f8706c8cb808" providerId="LiveId" clId="{7F1EA6FA-D2B5-47DE-ABEC-8F224979B9F1}" dt="2024-11-12T11:40:09.229" v="1608" actId="20577"/>
        <pc:sldMkLst>
          <pc:docMk/>
          <pc:sldMk cId="940711469" sldId="2134806672"/>
        </pc:sldMkLst>
        <pc:spChg chg="add del">
          <ac:chgData name="Mohamed Ibissi" userId="90b6f8706c8cb808" providerId="LiveId" clId="{7F1EA6FA-D2B5-47DE-ABEC-8F224979B9F1}" dt="2024-11-12T11:36:53.319" v="1478" actId="478"/>
          <ac:spMkLst>
            <pc:docMk/>
            <pc:sldMk cId="940711469" sldId="2134806672"/>
            <ac:spMk id="4" creationId="{BD22107A-B4D3-9A3A-8DD2-52D2A4ECE195}"/>
          </ac:spMkLst>
        </pc:spChg>
        <pc:spChg chg="mod">
          <ac:chgData name="Mohamed Ibissi" userId="90b6f8706c8cb808" providerId="LiveId" clId="{7F1EA6FA-D2B5-47DE-ABEC-8F224979B9F1}" dt="2024-11-12T11:40:09.229" v="1608" actId="20577"/>
          <ac:spMkLst>
            <pc:docMk/>
            <pc:sldMk cId="940711469" sldId="2134806672"/>
            <ac:spMk id="14" creationId="{1E7B6280-6AD6-6183-3CC6-4A73547D5D68}"/>
          </ac:spMkLst>
        </pc:spChg>
        <pc:picChg chg="del">
          <ac:chgData name="Mohamed Ibissi" userId="90b6f8706c8cb808" providerId="LiveId" clId="{7F1EA6FA-D2B5-47DE-ABEC-8F224979B9F1}" dt="2024-11-12T11:37:20.651" v="1480" actId="478"/>
          <ac:picMkLst>
            <pc:docMk/>
            <pc:sldMk cId="940711469" sldId="2134806672"/>
            <ac:picMk id="2" creationId="{E75F50E5-1D6F-09F3-3FA5-9BB4DD5D6C7E}"/>
          </ac:picMkLst>
        </pc:picChg>
        <pc:picChg chg="mod">
          <ac:chgData name="Mohamed Ibissi" userId="90b6f8706c8cb808" providerId="LiveId" clId="{7F1EA6FA-D2B5-47DE-ABEC-8F224979B9F1}" dt="2024-11-12T11:37:16.834" v="1479" actId="14826"/>
          <ac:picMkLst>
            <pc:docMk/>
            <pc:sldMk cId="940711469" sldId="2134806672"/>
            <ac:picMk id="16" creationId="{DCA90760-F520-F763-6AA9-A3E0284A77BC}"/>
          </ac:picMkLst>
        </pc:picChg>
      </pc:sldChg>
      <pc:sldChg chg="modSp add mod setBg">
        <pc:chgData name="Mohamed Ibissi" userId="90b6f8706c8cb808" providerId="LiveId" clId="{7F1EA6FA-D2B5-47DE-ABEC-8F224979B9F1}" dt="2024-11-12T12:19:40.420" v="1724" actId="1076"/>
        <pc:sldMkLst>
          <pc:docMk/>
          <pc:sldMk cId="3884003726" sldId="2134806673"/>
        </pc:sldMkLst>
        <pc:spChg chg="mod">
          <ac:chgData name="Mohamed Ibissi" userId="90b6f8706c8cb808" providerId="LiveId" clId="{7F1EA6FA-D2B5-47DE-ABEC-8F224979B9F1}" dt="2024-11-12T12:17:02.323" v="1717" actId="20577"/>
          <ac:spMkLst>
            <pc:docMk/>
            <pc:sldMk cId="3884003726" sldId="2134806673"/>
            <ac:spMk id="14" creationId="{0498E376-D645-5DBD-034D-75E2A6A953DF}"/>
          </ac:spMkLst>
        </pc:spChg>
        <pc:spChg chg="mod">
          <ac:chgData name="Mohamed Ibissi" userId="90b6f8706c8cb808" providerId="LiveId" clId="{7F1EA6FA-D2B5-47DE-ABEC-8F224979B9F1}" dt="2024-11-12T12:19:37.950" v="1723" actId="14100"/>
          <ac:spMkLst>
            <pc:docMk/>
            <pc:sldMk cId="3884003726" sldId="2134806673"/>
            <ac:spMk id="17" creationId="{6F3E257D-BF5F-B6FA-3F4C-E700FD1645E3}"/>
          </ac:spMkLst>
        </pc:spChg>
        <pc:spChg chg="mod">
          <ac:chgData name="Mohamed Ibissi" userId="90b6f8706c8cb808" providerId="LiveId" clId="{7F1EA6FA-D2B5-47DE-ABEC-8F224979B9F1}" dt="2024-11-12T12:19:40.420" v="1724" actId="1076"/>
          <ac:spMkLst>
            <pc:docMk/>
            <pc:sldMk cId="3884003726" sldId="2134806673"/>
            <ac:spMk id="18" creationId="{0234894F-4668-F16B-F77D-92E4274AC49C}"/>
          </ac:spMkLst>
        </pc:spChg>
        <pc:picChg chg="mod">
          <ac:chgData name="Mohamed Ibissi" userId="90b6f8706c8cb808" providerId="LiveId" clId="{7F1EA6FA-D2B5-47DE-ABEC-8F224979B9F1}" dt="2024-11-12T12:19:28.739" v="1720" actId="14100"/>
          <ac:picMkLst>
            <pc:docMk/>
            <pc:sldMk cId="3884003726" sldId="2134806673"/>
            <ac:picMk id="16" creationId="{C97C5348-945D-A638-9F18-5B88A3ED9C8F}"/>
          </ac:picMkLst>
        </pc:picChg>
      </pc:sldChg>
      <pc:sldChg chg="addSp delSp modSp add mod setBg">
        <pc:chgData name="Mohamed Ibissi" userId="90b6f8706c8cb808" providerId="LiveId" clId="{7F1EA6FA-D2B5-47DE-ABEC-8F224979B9F1}" dt="2024-11-12T20:55:01.289" v="3423" actId="20577"/>
        <pc:sldMkLst>
          <pc:docMk/>
          <pc:sldMk cId="1302456516" sldId="2134806674"/>
        </pc:sldMkLst>
        <pc:spChg chg="add mod">
          <ac:chgData name="Mohamed Ibissi" userId="90b6f8706c8cb808" providerId="LiveId" clId="{7F1EA6FA-D2B5-47DE-ABEC-8F224979B9F1}" dt="2024-11-12T12:20:21.967" v="1736"/>
          <ac:spMkLst>
            <pc:docMk/>
            <pc:sldMk cId="1302456516" sldId="2134806674"/>
            <ac:spMk id="5" creationId="{94C8866F-EFEA-9ABC-7BA6-ABCF129651B5}"/>
          </ac:spMkLst>
        </pc:spChg>
        <pc:spChg chg="add del mod">
          <ac:chgData name="Mohamed Ibissi" userId="90b6f8706c8cb808" providerId="LiveId" clId="{7F1EA6FA-D2B5-47DE-ABEC-8F224979B9F1}" dt="2024-11-12T12:20:27.001" v="1737" actId="478"/>
          <ac:spMkLst>
            <pc:docMk/>
            <pc:sldMk cId="1302456516" sldId="2134806674"/>
            <ac:spMk id="6" creationId="{E2B0814F-A05E-C16B-7434-654E9DE34B0B}"/>
          </ac:spMkLst>
        </pc:spChg>
        <pc:spChg chg="mod">
          <ac:chgData name="Mohamed Ibissi" userId="90b6f8706c8cb808" providerId="LiveId" clId="{7F1EA6FA-D2B5-47DE-ABEC-8F224979B9F1}" dt="2024-11-12T20:55:01.289" v="3423" actId="20577"/>
          <ac:spMkLst>
            <pc:docMk/>
            <pc:sldMk cId="1302456516" sldId="2134806674"/>
            <ac:spMk id="14" creationId="{042DA42D-9813-9DE1-7719-8501B6B00428}"/>
          </ac:spMkLst>
        </pc:spChg>
        <pc:spChg chg="del">
          <ac:chgData name="Mohamed Ibissi" userId="90b6f8706c8cb808" providerId="LiveId" clId="{7F1EA6FA-D2B5-47DE-ABEC-8F224979B9F1}" dt="2024-11-12T12:20:13.384" v="1735" actId="478"/>
          <ac:spMkLst>
            <pc:docMk/>
            <pc:sldMk cId="1302456516" sldId="2134806674"/>
            <ac:spMk id="17" creationId="{D9543DE8-990C-F8B6-D49E-7EEC871104B4}"/>
          </ac:spMkLst>
        </pc:spChg>
        <pc:picChg chg="del">
          <ac:chgData name="Mohamed Ibissi" userId="90b6f8706c8cb808" providerId="LiveId" clId="{7F1EA6FA-D2B5-47DE-ABEC-8F224979B9F1}" dt="2024-11-12T12:20:13.384" v="1735" actId="478"/>
          <ac:picMkLst>
            <pc:docMk/>
            <pc:sldMk cId="1302456516" sldId="2134806674"/>
            <ac:picMk id="2" creationId="{5E0BE7F8-06EC-5CB7-FA50-1277EEC7E157}"/>
          </ac:picMkLst>
        </pc:picChg>
        <pc:picChg chg="add mod">
          <ac:chgData name="Mohamed Ibissi" userId="90b6f8706c8cb808" providerId="LiveId" clId="{7F1EA6FA-D2B5-47DE-ABEC-8F224979B9F1}" dt="2024-11-12T12:20:21.967" v="1736"/>
          <ac:picMkLst>
            <pc:docMk/>
            <pc:sldMk cId="1302456516" sldId="2134806674"/>
            <ac:picMk id="4" creationId="{8570FBD9-5019-DEB8-9ED6-1B401F6ADD34}"/>
          </ac:picMkLst>
        </pc:picChg>
        <pc:picChg chg="add mod">
          <ac:chgData name="Mohamed Ibissi" userId="90b6f8706c8cb808" providerId="LiveId" clId="{7F1EA6FA-D2B5-47DE-ABEC-8F224979B9F1}" dt="2024-11-12T12:20:48.549" v="1739" actId="1076"/>
          <ac:picMkLst>
            <pc:docMk/>
            <pc:sldMk cId="1302456516" sldId="2134806674"/>
            <ac:picMk id="8" creationId="{73E53401-528F-F99A-3672-8E2D66E6756F}"/>
          </ac:picMkLst>
        </pc:picChg>
        <pc:picChg chg="add del mod">
          <ac:chgData name="Mohamed Ibissi" userId="90b6f8706c8cb808" providerId="LiveId" clId="{7F1EA6FA-D2B5-47DE-ABEC-8F224979B9F1}" dt="2024-11-12T12:24:43.423" v="1845" actId="21"/>
          <ac:picMkLst>
            <pc:docMk/>
            <pc:sldMk cId="1302456516" sldId="2134806674"/>
            <ac:picMk id="10" creationId="{F80D83CB-D805-E82D-5373-C524AD4A2440}"/>
          </ac:picMkLst>
        </pc:picChg>
        <pc:picChg chg="del">
          <ac:chgData name="Mohamed Ibissi" userId="90b6f8706c8cb808" providerId="LiveId" clId="{7F1EA6FA-D2B5-47DE-ABEC-8F224979B9F1}" dt="2024-11-12T12:20:13.384" v="1735" actId="478"/>
          <ac:picMkLst>
            <pc:docMk/>
            <pc:sldMk cId="1302456516" sldId="2134806674"/>
            <ac:picMk id="16" creationId="{9ABEE798-AACD-374F-1D26-6F3EFC84D63B}"/>
          </ac:picMkLst>
        </pc:picChg>
      </pc:sldChg>
      <pc:sldChg chg="addSp delSp modSp add mod setBg">
        <pc:chgData name="Mohamed Ibissi" userId="90b6f8706c8cb808" providerId="LiveId" clId="{7F1EA6FA-D2B5-47DE-ABEC-8F224979B9F1}" dt="2024-11-12T12:24:59.206" v="1850" actId="478"/>
        <pc:sldMkLst>
          <pc:docMk/>
          <pc:sldMk cId="3279032848" sldId="2134806675"/>
        </pc:sldMkLst>
        <pc:spChg chg="add mod">
          <ac:chgData name="Mohamed Ibissi" userId="90b6f8706c8cb808" providerId="LiveId" clId="{7F1EA6FA-D2B5-47DE-ABEC-8F224979B9F1}" dt="2024-11-12T12:22:13.470" v="1813"/>
          <ac:spMkLst>
            <pc:docMk/>
            <pc:sldMk cId="3279032848" sldId="2134806675"/>
            <ac:spMk id="4" creationId="{CCFEEA47-8EC9-A4B8-9B2D-72A7722E3BA1}"/>
          </ac:spMkLst>
        </pc:spChg>
        <pc:spChg chg="add del mod">
          <ac:chgData name="Mohamed Ibissi" userId="90b6f8706c8cb808" providerId="LiveId" clId="{7F1EA6FA-D2B5-47DE-ABEC-8F224979B9F1}" dt="2024-11-12T12:24:59.206" v="1850" actId="478"/>
          <ac:spMkLst>
            <pc:docMk/>
            <pc:sldMk cId="3279032848" sldId="2134806675"/>
            <ac:spMk id="6" creationId="{876CC9CD-62F2-AC26-C742-79CAA6D5353E}"/>
          </ac:spMkLst>
        </pc:spChg>
        <pc:spChg chg="mod">
          <ac:chgData name="Mohamed Ibissi" userId="90b6f8706c8cb808" providerId="LiveId" clId="{7F1EA6FA-D2B5-47DE-ABEC-8F224979B9F1}" dt="2024-11-12T12:22:04.490" v="1812" actId="20577"/>
          <ac:spMkLst>
            <pc:docMk/>
            <pc:sldMk cId="3279032848" sldId="2134806675"/>
            <ac:spMk id="14" creationId="{8FC947EF-199D-01C0-F630-5F1CC2344340}"/>
          </ac:spMkLst>
        </pc:spChg>
        <pc:spChg chg="del">
          <ac:chgData name="Mohamed Ibissi" userId="90b6f8706c8cb808" providerId="LiveId" clId="{7F1EA6FA-D2B5-47DE-ABEC-8F224979B9F1}" dt="2024-11-12T12:21:36.927" v="1772" actId="478"/>
          <ac:spMkLst>
            <pc:docMk/>
            <pc:sldMk cId="3279032848" sldId="2134806675"/>
            <ac:spMk id="17" creationId="{F94CFFD0-92FB-AA30-2B57-B5E94CAD7BDD}"/>
          </ac:spMkLst>
        </pc:spChg>
        <pc:picChg chg="add del mod">
          <ac:chgData name="Mohamed Ibissi" userId="90b6f8706c8cb808" providerId="LiveId" clId="{7F1EA6FA-D2B5-47DE-ABEC-8F224979B9F1}" dt="2024-11-12T12:24:47.224" v="1846" actId="478"/>
          <ac:picMkLst>
            <pc:docMk/>
            <pc:sldMk cId="3279032848" sldId="2134806675"/>
            <ac:picMk id="2" creationId="{6C8497A7-0E44-9B7D-D375-9A48EF986998}"/>
          </ac:picMkLst>
        </pc:picChg>
        <pc:picChg chg="add del mod">
          <ac:chgData name="Mohamed Ibissi" userId="90b6f8706c8cb808" providerId="LiveId" clId="{7F1EA6FA-D2B5-47DE-ABEC-8F224979B9F1}" dt="2024-11-12T12:22:16.158" v="1814" actId="478"/>
          <ac:picMkLst>
            <pc:docMk/>
            <pc:sldMk cId="3279032848" sldId="2134806675"/>
            <ac:picMk id="5" creationId="{26EA6F39-417C-1D6B-D217-5F68BE11F861}"/>
          </ac:picMkLst>
        </pc:picChg>
        <pc:picChg chg="add mod ord">
          <ac:chgData name="Mohamed Ibissi" userId="90b6f8706c8cb808" providerId="LiveId" clId="{7F1EA6FA-D2B5-47DE-ABEC-8F224979B9F1}" dt="2024-11-12T12:24:53.953" v="1849" actId="170"/>
          <ac:picMkLst>
            <pc:docMk/>
            <pc:sldMk cId="3279032848" sldId="2134806675"/>
            <ac:picMk id="10" creationId="{F80D83CB-D805-E82D-5373-C524AD4A2440}"/>
          </ac:picMkLst>
        </pc:picChg>
        <pc:picChg chg="del">
          <ac:chgData name="Mohamed Ibissi" userId="90b6f8706c8cb808" providerId="LiveId" clId="{7F1EA6FA-D2B5-47DE-ABEC-8F224979B9F1}" dt="2024-11-12T12:21:36.927" v="1772" actId="478"/>
          <ac:picMkLst>
            <pc:docMk/>
            <pc:sldMk cId="3279032848" sldId="2134806675"/>
            <ac:picMk id="16" creationId="{7BB47DFC-C1C7-9C48-5D73-C37943B19027}"/>
          </ac:picMkLst>
        </pc:picChg>
      </pc:sldChg>
      <pc:sldChg chg="addSp delSp modSp add mod setBg">
        <pc:chgData name="Mohamed Ibissi" userId="90b6f8706c8cb808" providerId="LiveId" clId="{7F1EA6FA-D2B5-47DE-ABEC-8F224979B9F1}" dt="2024-11-12T20:04:45.014" v="2489"/>
        <pc:sldMkLst>
          <pc:docMk/>
          <pc:sldMk cId="711822364" sldId="2134806676"/>
        </pc:sldMkLst>
        <pc:spChg chg="mod ord">
          <ac:chgData name="Mohamed Ibissi" userId="90b6f8706c8cb808" providerId="LiveId" clId="{7F1EA6FA-D2B5-47DE-ABEC-8F224979B9F1}" dt="2024-11-12T12:26:03.562" v="1864" actId="1036"/>
          <ac:spMkLst>
            <pc:docMk/>
            <pc:sldMk cId="711822364" sldId="2134806676"/>
            <ac:spMk id="4" creationId="{C1B0D724-4295-E3E7-1639-9F563CBC3A8C}"/>
          </ac:spMkLst>
        </pc:spChg>
        <pc:spChg chg="mod">
          <ac:chgData name="Mohamed Ibissi" userId="90b6f8706c8cb808" providerId="LiveId" clId="{7F1EA6FA-D2B5-47DE-ABEC-8F224979B9F1}" dt="2024-11-12T12:26:08.002" v="1865" actId="1076"/>
          <ac:spMkLst>
            <pc:docMk/>
            <pc:sldMk cId="711822364" sldId="2134806676"/>
            <ac:spMk id="5" creationId="{70F384FC-9F0F-D725-FBF2-4B0B5B0592CF}"/>
          </ac:spMkLst>
        </pc:spChg>
        <pc:spChg chg="mod">
          <ac:chgData name="Mohamed Ibissi" userId="90b6f8706c8cb808" providerId="LiveId" clId="{7F1EA6FA-D2B5-47DE-ABEC-8F224979B9F1}" dt="2024-11-12T20:04:45.014" v="2489"/>
          <ac:spMkLst>
            <pc:docMk/>
            <pc:sldMk cId="711822364" sldId="2134806676"/>
            <ac:spMk id="6" creationId="{513A4662-6D52-343C-0ED9-26DF0FA83681}"/>
          </ac:spMkLst>
        </pc:spChg>
        <pc:picChg chg="del">
          <ac:chgData name="Mohamed Ibissi" userId="90b6f8706c8cb808" providerId="LiveId" clId="{7F1EA6FA-D2B5-47DE-ABEC-8F224979B9F1}" dt="2024-11-12T12:25:24.067" v="1852" actId="478"/>
          <ac:picMkLst>
            <pc:docMk/>
            <pc:sldMk cId="711822364" sldId="2134806676"/>
            <ac:picMk id="2" creationId="{63669BBB-6E47-DFB4-1945-518FC1024ED4}"/>
          </ac:picMkLst>
        </pc:picChg>
        <pc:picChg chg="add mod">
          <ac:chgData name="Mohamed Ibissi" userId="90b6f8706c8cb808" providerId="LiveId" clId="{7F1EA6FA-D2B5-47DE-ABEC-8F224979B9F1}" dt="2024-11-12T12:25:31.681" v="1853"/>
          <ac:picMkLst>
            <pc:docMk/>
            <pc:sldMk cId="711822364" sldId="2134806676"/>
            <ac:picMk id="7" creationId="{72FD1AEF-C2CF-CA94-DAED-B8F7C0AE98EE}"/>
          </ac:picMkLst>
        </pc:picChg>
      </pc:sldChg>
      <pc:sldChg chg="addSp delSp modSp add mod setBg delAnim modAnim">
        <pc:chgData name="Mohamed Ibissi" userId="90b6f8706c8cb808" providerId="LiveId" clId="{7F1EA6FA-D2B5-47DE-ABEC-8F224979B9F1}" dt="2024-11-12T12:28:24.698" v="1948"/>
        <pc:sldMkLst>
          <pc:docMk/>
          <pc:sldMk cId="3492841496" sldId="2134806677"/>
        </pc:sldMkLst>
        <pc:spChg chg="add mod">
          <ac:chgData name="Mohamed Ibissi" userId="90b6f8706c8cb808" providerId="LiveId" clId="{7F1EA6FA-D2B5-47DE-ABEC-8F224979B9F1}" dt="2024-11-12T12:27:28.840" v="1932" actId="1037"/>
          <ac:spMkLst>
            <pc:docMk/>
            <pc:sldMk cId="3492841496" sldId="2134806677"/>
            <ac:spMk id="5" creationId="{5B90CABB-353B-9782-5E38-8DDA0A301DA5}"/>
          </ac:spMkLst>
        </pc:spChg>
        <pc:spChg chg="add mod">
          <ac:chgData name="Mohamed Ibissi" userId="90b6f8706c8cb808" providerId="LiveId" clId="{7F1EA6FA-D2B5-47DE-ABEC-8F224979B9F1}" dt="2024-11-12T12:27:36.083" v="1935" actId="20577"/>
          <ac:spMkLst>
            <pc:docMk/>
            <pc:sldMk cId="3492841496" sldId="2134806677"/>
            <ac:spMk id="6" creationId="{863AB9F8-C824-3D85-8252-F914B894D024}"/>
          </ac:spMkLst>
        </pc:spChg>
        <pc:spChg chg="add mod">
          <ac:chgData name="Mohamed Ibissi" userId="90b6f8706c8cb808" providerId="LiveId" clId="{7F1EA6FA-D2B5-47DE-ABEC-8F224979B9F1}" dt="2024-11-12T12:27:44.946" v="1938" actId="1076"/>
          <ac:spMkLst>
            <pc:docMk/>
            <pc:sldMk cId="3492841496" sldId="2134806677"/>
            <ac:spMk id="7" creationId="{216ADFEB-E597-ED90-D4AE-81638B8EBFE1}"/>
          </ac:spMkLst>
        </pc:spChg>
        <pc:spChg chg="add mod">
          <ac:chgData name="Mohamed Ibissi" userId="90b6f8706c8cb808" providerId="LiveId" clId="{7F1EA6FA-D2B5-47DE-ABEC-8F224979B9F1}" dt="2024-11-12T12:27:48.546" v="1940" actId="20577"/>
          <ac:spMkLst>
            <pc:docMk/>
            <pc:sldMk cId="3492841496" sldId="2134806677"/>
            <ac:spMk id="8" creationId="{3F551661-CE7C-1E54-34C8-0B2A914B61CC}"/>
          </ac:spMkLst>
        </pc:spChg>
        <pc:spChg chg="del">
          <ac:chgData name="Mohamed Ibissi" userId="90b6f8706c8cb808" providerId="LiveId" clId="{7F1EA6FA-D2B5-47DE-ABEC-8F224979B9F1}" dt="2024-11-12T12:26:57.190" v="1912" actId="478"/>
          <ac:spMkLst>
            <pc:docMk/>
            <pc:sldMk cId="3492841496" sldId="2134806677"/>
            <ac:spMk id="11" creationId="{7BFB082E-E5CB-F547-61B4-6579773525B0}"/>
          </ac:spMkLst>
        </pc:spChg>
        <pc:spChg chg="del">
          <ac:chgData name="Mohamed Ibissi" userId="90b6f8706c8cb808" providerId="LiveId" clId="{7F1EA6FA-D2B5-47DE-ABEC-8F224979B9F1}" dt="2024-11-12T12:26:57.190" v="1912" actId="478"/>
          <ac:spMkLst>
            <pc:docMk/>
            <pc:sldMk cId="3492841496" sldId="2134806677"/>
            <ac:spMk id="12" creationId="{7B2BD4A0-1EBF-6B62-3E7B-2DC790C8F132}"/>
          </ac:spMkLst>
        </pc:spChg>
        <pc:spChg chg="del">
          <ac:chgData name="Mohamed Ibissi" userId="90b6f8706c8cb808" providerId="LiveId" clId="{7F1EA6FA-D2B5-47DE-ABEC-8F224979B9F1}" dt="2024-11-12T12:26:57.190" v="1912" actId="478"/>
          <ac:spMkLst>
            <pc:docMk/>
            <pc:sldMk cId="3492841496" sldId="2134806677"/>
            <ac:spMk id="13" creationId="{D371F7B0-0BE9-52C3-751E-15BC2F795CAF}"/>
          </ac:spMkLst>
        </pc:spChg>
        <pc:spChg chg="del">
          <ac:chgData name="Mohamed Ibissi" userId="90b6f8706c8cb808" providerId="LiveId" clId="{7F1EA6FA-D2B5-47DE-ABEC-8F224979B9F1}" dt="2024-11-12T12:26:57.190" v="1912" actId="478"/>
          <ac:spMkLst>
            <pc:docMk/>
            <pc:sldMk cId="3492841496" sldId="2134806677"/>
            <ac:spMk id="14" creationId="{0AF1A496-E546-F57B-E568-63439D7674BF}"/>
          </ac:spMkLst>
        </pc:spChg>
        <pc:picChg chg="add mod">
          <ac:chgData name="Mohamed Ibissi" userId="90b6f8706c8cb808" providerId="LiveId" clId="{7F1EA6FA-D2B5-47DE-ABEC-8F224979B9F1}" dt="2024-11-12T12:26:57.628" v="1913"/>
          <ac:picMkLst>
            <pc:docMk/>
            <pc:sldMk cId="3492841496" sldId="2134806677"/>
            <ac:picMk id="2" creationId="{3345878E-2BD5-D9CE-42D8-3AB7A5498D41}"/>
          </ac:picMkLst>
        </pc:picChg>
        <pc:picChg chg="del">
          <ac:chgData name="Mohamed Ibissi" userId="90b6f8706c8cb808" providerId="LiveId" clId="{7F1EA6FA-D2B5-47DE-ABEC-8F224979B9F1}" dt="2024-11-12T12:26:54.533" v="1911" actId="478"/>
          <ac:picMkLst>
            <pc:docMk/>
            <pc:sldMk cId="3492841496" sldId="2134806677"/>
            <ac:picMk id="10" creationId="{F1732A2C-310C-C26C-7646-FC126CA2D486}"/>
          </ac:picMkLst>
        </pc:picChg>
      </pc:sldChg>
      <pc:sldChg chg="modSp add mod">
        <pc:chgData name="Mohamed Ibissi" userId="90b6f8706c8cb808" providerId="LiveId" clId="{7F1EA6FA-D2B5-47DE-ABEC-8F224979B9F1}" dt="2024-11-12T12:34:06.324" v="1962" actId="1076"/>
        <pc:sldMkLst>
          <pc:docMk/>
          <pc:sldMk cId="4199004228" sldId="2134806678"/>
        </pc:sldMkLst>
        <pc:spChg chg="mod">
          <ac:chgData name="Mohamed Ibissi" userId="90b6f8706c8cb808" providerId="LiveId" clId="{7F1EA6FA-D2B5-47DE-ABEC-8F224979B9F1}" dt="2024-11-12T12:33:07.514" v="1951" actId="20577"/>
          <ac:spMkLst>
            <pc:docMk/>
            <pc:sldMk cId="4199004228" sldId="2134806678"/>
            <ac:spMk id="14" creationId="{89539690-D0AB-0996-7C52-12BCD3A97D64}"/>
          </ac:spMkLst>
        </pc:spChg>
        <pc:spChg chg="mod">
          <ac:chgData name="Mohamed Ibissi" userId="90b6f8706c8cb808" providerId="LiveId" clId="{7F1EA6FA-D2B5-47DE-ABEC-8F224979B9F1}" dt="2024-11-12T12:34:01.493" v="1961" actId="14100"/>
          <ac:spMkLst>
            <pc:docMk/>
            <pc:sldMk cId="4199004228" sldId="2134806678"/>
            <ac:spMk id="17" creationId="{3734C1FC-BA2F-7B5E-2C38-8AC6390E637D}"/>
          </ac:spMkLst>
        </pc:spChg>
        <pc:spChg chg="mod">
          <ac:chgData name="Mohamed Ibissi" userId="90b6f8706c8cb808" providerId="LiveId" clId="{7F1EA6FA-D2B5-47DE-ABEC-8F224979B9F1}" dt="2024-11-12T12:34:06.324" v="1962" actId="1076"/>
          <ac:spMkLst>
            <pc:docMk/>
            <pc:sldMk cId="4199004228" sldId="2134806678"/>
            <ac:spMk id="18" creationId="{0CDA851F-10F5-BD69-34C7-2048176E4F95}"/>
          </ac:spMkLst>
        </pc:spChg>
        <pc:picChg chg="mod">
          <ac:chgData name="Mohamed Ibissi" userId="90b6f8706c8cb808" providerId="LiveId" clId="{7F1EA6FA-D2B5-47DE-ABEC-8F224979B9F1}" dt="2024-11-12T12:33:29.660" v="1957" actId="1038"/>
          <ac:picMkLst>
            <pc:docMk/>
            <pc:sldMk cId="4199004228" sldId="2134806678"/>
            <ac:picMk id="16" creationId="{14F70255-D548-918D-7613-641ED4F3DF17}"/>
          </ac:picMkLst>
        </pc:picChg>
      </pc:sldChg>
      <pc:sldChg chg="addSp delSp modSp add mod">
        <pc:chgData name="Mohamed Ibissi" userId="90b6f8706c8cb808" providerId="LiveId" clId="{7F1EA6FA-D2B5-47DE-ABEC-8F224979B9F1}" dt="2024-11-12T20:05:02.375" v="2490" actId="478"/>
        <pc:sldMkLst>
          <pc:docMk/>
          <pc:sldMk cId="2302606851" sldId="2134806679"/>
        </pc:sldMkLst>
        <pc:spChg chg="del">
          <ac:chgData name="Mohamed Ibissi" userId="90b6f8706c8cb808" providerId="LiveId" clId="{7F1EA6FA-D2B5-47DE-ABEC-8F224979B9F1}" dt="2024-11-12T12:34:28.839" v="1964" actId="478"/>
          <ac:spMkLst>
            <pc:docMk/>
            <pc:sldMk cId="2302606851" sldId="2134806679"/>
            <ac:spMk id="5" creationId="{932D043C-E320-1853-283C-93140447879A}"/>
          </ac:spMkLst>
        </pc:spChg>
        <pc:spChg chg="add mod">
          <ac:chgData name="Mohamed Ibissi" userId="90b6f8706c8cb808" providerId="LiveId" clId="{7F1EA6FA-D2B5-47DE-ABEC-8F224979B9F1}" dt="2024-11-12T12:34:38.876" v="1965"/>
          <ac:spMkLst>
            <pc:docMk/>
            <pc:sldMk cId="2302606851" sldId="2134806679"/>
            <ac:spMk id="6" creationId="{66A4058C-91C9-B3DC-9E88-57E76428CCB9}"/>
          </ac:spMkLst>
        </pc:spChg>
        <pc:spChg chg="add mod">
          <ac:chgData name="Mohamed Ibissi" userId="90b6f8706c8cb808" providerId="LiveId" clId="{7F1EA6FA-D2B5-47DE-ABEC-8F224979B9F1}" dt="2024-11-12T12:38:01.246" v="2035" actId="14100"/>
          <ac:spMkLst>
            <pc:docMk/>
            <pc:sldMk cId="2302606851" sldId="2134806679"/>
            <ac:spMk id="9" creationId="{F0D192DA-E502-3EF6-32A8-FFB01F1AF9D3}"/>
          </ac:spMkLst>
        </pc:spChg>
        <pc:spChg chg="mod">
          <ac:chgData name="Mohamed Ibissi" userId="90b6f8706c8cb808" providerId="LiveId" clId="{7F1EA6FA-D2B5-47DE-ABEC-8F224979B9F1}" dt="2024-11-12T12:37:35.433" v="2030" actId="20577"/>
          <ac:spMkLst>
            <pc:docMk/>
            <pc:sldMk cId="2302606851" sldId="2134806679"/>
            <ac:spMk id="14" creationId="{20CDE986-0746-3FB4-7882-838D38F15873}"/>
          </ac:spMkLst>
        </pc:spChg>
        <pc:picChg chg="add mod">
          <ac:chgData name="Mohamed Ibissi" userId="90b6f8706c8cb808" providerId="LiveId" clId="{7F1EA6FA-D2B5-47DE-ABEC-8F224979B9F1}" dt="2024-11-12T12:34:38.876" v="1965"/>
          <ac:picMkLst>
            <pc:docMk/>
            <pc:sldMk cId="2302606851" sldId="2134806679"/>
            <ac:picMk id="2" creationId="{B2351854-B86D-313F-DD48-20F9DDFC8D1F}"/>
          </ac:picMkLst>
        </pc:picChg>
        <pc:picChg chg="del">
          <ac:chgData name="Mohamed Ibissi" userId="90b6f8706c8cb808" providerId="LiveId" clId="{7F1EA6FA-D2B5-47DE-ABEC-8F224979B9F1}" dt="2024-11-12T12:34:28.839" v="1964" actId="478"/>
          <ac:picMkLst>
            <pc:docMk/>
            <pc:sldMk cId="2302606851" sldId="2134806679"/>
            <ac:picMk id="4" creationId="{1E22E5B7-B560-1BA4-DF60-30F9CCDA0E29}"/>
          </ac:picMkLst>
        </pc:picChg>
        <pc:picChg chg="del mod">
          <ac:chgData name="Mohamed Ibissi" userId="90b6f8706c8cb808" providerId="LiveId" clId="{7F1EA6FA-D2B5-47DE-ABEC-8F224979B9F1}" dt="2024-11-12T20:05:02.375" v="2490" actId="478"/>
          <ac:picMkLst>
            <pc:docMk/>
            <pc:sldMk cId="2302606851" sldId="2134806679"/>
            <ac:picMk id="8" creationId="{C21B3AF2-E03E-0227-DFCE-FFF171E6F509}"/>
          </ac:picMkLst>
        </pc:picChg>
      </pc:sldChg>
      <pc:sldChg chg="add del">
        <pc:chgData name="Mohamed Ibissi" userId="90b6f8706c8cb808" providerId="LiveId" clId="{7F1EA6FA-D2B5-47DE-ABEC-8F224979B9F1}" dt="2024-11-12T12:54:13.976" v="2221" actId="47"/>
        <pc:sldMkLst>
          <pc:docMk/>
          <pc:sldMk cId="3421371723" sldId="2134806680"/>
        </pc:sldMkLst>
      </pc:sldChg>
      <pc:sldChg chg="addSp delSp modSp add mod">
        <pc:chgData name="Mohamed Ibissi" userId="90b6f8706c8cb808" providerId="LiveId" clId="{7F1EA6FA-D2B5-47DE-ABEC-8F224979B9F1}" dt="2024-11-12T20:05:29.914" v="2492"/>
        <pc:sldMkLst>
          <pc:docMk/>
          <pc:sldMk cId="1686986867" sldId="2134806681"/>
        </pc:sldMkLst>
        <pc:spChg chg="mod ord">
          <ac:chgData name="Mohamed Ibissi" userId="90b6f8706c8cb808" providerId="LiveId" clId="{7F1EA6FA-D2B5-47DE-ABEC-8F224979B9F1}" dt="2024-11-12T12:57:14.086" v="2305" actId="14100"/>
          <ac:spMkLst>
            <pc:docMk/>
            <pc:sldMk cId="1686986867" sldId="2134806681"/>
            <ac:spMk id="4" creationId="{07F5C46C-3F94-067C-F79B-6DA5BD24012F}"/>
          </ac:spMkLst>
        </pc:spChg>
        <pc:spChg chg="mod">
          <ac:chgData name="Mohamed Ibissi" userId="90b6f8706c8cb808" providerId="LiveId" clId="{7F1EA6FA-D2B5-47DE-ABEC-8F224979B9F1}" dt="2024-11-12T20:05:29.914" v="2492"/>
          <ac:spMkLst>
            <pc:docMk/>
            <pc:sldMk cId="1686986867" sldId="2134806681"/>
            <ac:spMk id="6" creationId="{A90060DA-8BCB-9E48-79E8-B1CA72B40A3A}"/>
          </ac:spMkLst>
        </pc:spChg>
        <pc:picChg chg="add mod">
          <ac:chgData name="Mohamed Ibissi" userId="90b6f8706c8cb808" providerId="LiveId" clId="{7F1EA6FA-D2B5-47DE-ABEC-8F224979B9F1}" dt="2024-11-12T12:56:56.637" v="2301"/>
          <ac:picMkLst>
            <pc:docMk/>
            <pc:sldMk cId="1686986867" sldId="2134806681"/>
            <ac:picMk id="2" creationId="{7DC1EF9D-81EA-2677-E423-5ACEB8EC2F32}"/>
          </ac:picMkLst>
        </pc:picChg>
        <pc:picChg chg="del">
          <ac:chgData name="Mohamed Ibissi" userId="90b6f8706c8cb808" providerId="LiveId" clId="{7F1EA6FA-D2B5-47DE-ABEC-8F224979B9F1}" dt="2024-11-12T12:56:50.536" v="2300" actId="478"/>
          <ac:picMkLst>
            <pc:docMk/>
            <pc:sldMk cId="1686986867" sldId="2134806681"/>
            <ac:picMk id="7" creationId="{55053FBC-9C4C-0BD0-E4C5-8A79606260A1}"/>
          </ac:picMkLst>
        </pc:picChg>
      </pc:sldChg>
      <pc:sldChg chg="addSp delSp modSp add mod delAnim modAnim">
        <pc:chgData name="Mohamed Ibissi" userId="90b6f8706c8cb808" providerId="LiveId" clId="{7F1EA6FA-D2B5-47DE-ABEC-8F224979B9F1}" dt="2024-11-12T13:02:54.682" v="2375"/>
        <pc:sldMkLst>
          <pc:docMk/>
          <pc:sldMk cId="1052815399" sldId="2134806682"/>
        </pc:sldMkLst>
        <pc:spChg chg="del">
          <ac:chgData name="Mohamed Ibissi" userId="90b6f8706c8cb808" providerId="LiveId" clId="{7F1EA6FA-D2B5-47DE-ABEC-8F224979B9F1}" dt="2024-11-12T12:58:52.142" v="2353" actId="478"/>
          <ac:spMkLst>
            <pc:docMk/>
            <pc:sldMk cId="1052815399" sldId="2134806682"/>
            <ac:spMk id="5" creationId="{CADA0CE7-D549-7DCC-F439-5E9C2EE7945D}"/>
          </ac:spMkLst>
        </pc:spChg>
        <pc:spChg chg="del">
          <ac:chgData name="Mohamed Ibissi" userId="90b6f8706c8cb808" providerId="LiveId" clId="{7F1EA6FA-D2B5-47DE-ABEC-8F224979B9F1}" dt="2024-11-12T12:58:52.142" v="2353" actId="478"/>
          <ac:spMkLst>
            <pc:docMk/>
            <pc:sldMk cId="1052815399" sldId="2134806682"/>
            <ac:spMk id="6" creationId="{595C5C74-AFB9-86A1-9B48-59EE39627434}"/>
          </ac:spMkLst>
        </pc:spChg>
        <pc:spChg chg="del">
          <ac:chgData name="Mohamed Ibissi" userId="90b6f8706c8cb808" providerId="LiveId" clId="{7F1EA6FA-D2B5-47DE-ABEC-8F224979B9F1}" dt="2024-11-12T12:58:52.142" v="2353" actId="478"/>
          <ac:spMkLst>
            <pc:docMk/>
            <pc:sldMk cId="1052815399" sldId="2134806682"/>
            <ac:spMk id="7" creationId="{34A6732F-3A14-4657-CEBD-01C1C4B87745}"/>
          </ac:spMkLst>
        </pc:spChg>
        <pc:spChg chg="del">
          <ac:chgData name="Mohamed Ibissi" userId="90b6f8706c8cb808" providerId="LiveId" clId="{7F1EA6FA-D2B5-47DE-ABEC-8F224979B9F1}" dt="2024-11-12T12:58:52.142" v="2353" actId="478"/>
          <ac:spMkLst>
            <pc:docMk/>
            <pc:sldMk cId="1052815399" sldId="2134806682"/>
            <ac:spMk id="8" creationId="{40DA63FC-D3A7-E6F3-BDC2-D225EDE43CD0}"/>
          </ac:spMkLst>
        </pc:spChg>
        <pc:spChg chg="add mod">
          <ac:chgData name="Mohamed Ibissi" userId="90b6f8706c8cb808" providerId="LiveId" clId="{7F1EA6FA-D2B5-47DE-ABEC-8F224979B9F1}" dt="2024-11-12T12:59:49.530" v="2359" actId="1582"/>
          <ac:spMkLst>
            <pc:docMk/>
            <pc:sldMk cId="1052815399" sldId="2134806682"/>
            <ac:spMk id="11" creationId="{D2A1B622-0A99-C38C-8B8C-0E73020C7750}"/>
          </ac:spMkLst>
        </pc:spChg>
        <pc:spChg chg="add mod">
          <ac:chgData name="Mohamed Ibissi" userId="90b6f8706c8cb808" providerId="LiveId" clId="{7F1EA6FA-D2B5-47DE-ABEC-8F224979B9F1}" dt="2024-11-12T13:01:41.110" v="2367" actId="208"/>
          <ac:spMkLst>
            <pc:docMk/>
            <pc:sldMk cId="1052815399" sldId="2134806682"/>
            <ac:spMk id="12" creationId="{F361C275-5E5A-8353-D2B1-EF8F00E14AC2}"/>
          </ac:spMkLst>
        </pc:spChg>
        <pc:spChg chg="add mod">
          <ac:chgData name="Mohamed Ibissi" userId="90b6f8706c8cb808" providerId="LiveId" clId="{7F1EA6FA-D2B5-47DE-ABEC-8F224979B9F1}" dt="2024-11-12T13:01:41.110" v="2367" actId="208"/>
          <ac:spMkLst>
            <pc:docMk/>
            <pc:sldMk cId="1052815399" sldId="2134806682"/>
            <ac:spMk id="13" creationId="{FE5819A6-EB6E-A66F-395C-4A8A1090B568}"/>
          </ac:spMkLst>
        </pc:spChg>
        <pc:spChg chg="add mod">
          <ac:chgData name="Mohamed Ibissi" userId="90b6f8706c8cb808" providerId="LiveId" clId="{7F1EA6FA-D2B5-47DE-ABEC-8F224979B9F1}" dt="2024-11-12T13:01:41.110" v="2367" actId="208"/>
          <ac:spMkLst>
            <pc:docMk/>
            <pc:sldMk cId="1052815399" sldId="2134806682"/>
            <ac:spMk id="14" creationId="{AF2076B0-6BBB-F80B-6801-B37339B77B86}"/>
          </ac:spMkLst>
        </pc:spChg>
        <pc:picChg chg="del">
          <ac:chgData name="Mohamed Ibissi" userId="90b6f8706c8cb808" providerId="LiveId" clId="{7F1EA6FA-D2B5-47DE-ABEC-8F224979B9F1}" dt="2024-11-12T12:58:52.142" v="2353" actId="478"/>
          <ac:picMkLst>
            <pc:docMk/>
            <pc:sldMk cId="1052815399" sldId="2134806682"/>
            <ac:picMk id="2" creationId="{23351B81-FF12-EA20-3E19-EC72344F1921}"/>
          </ac:picMkLst>
        </pc:picChg>
        <pc:picChg chg="add mod">
          <ac:chgData name="Mohamed Ibissi" userId="90b6f8706c8cb808" providerId="LiveId" clId="{7F1EA6FA-D2B5-47DE-ABEC-8F224979B9F1}" dt="2024-11-12T12:58:59.958" v="2354"/>
          <ac:picMkLst>
            <pc:docMk/>
            <pc:sldMk cId="1052815399" sldId="2134806682"/>
            <ac:picMk id="10" creationId="{7A4D8C53-E016-DD3B-3722-2E2D0FA37A3A}"/>
          </ac:picMkLst>
        </pc:picChg>
      </pc:sldChg>
      <pc:sldChg chg="addSp delSp modSp add mod">
        <pc:chgData name="Mohamed Ibissi" userId="90b6f8706c8cb808" providerId="LiveId" clId="{7F1EA6FA-D2B5-47DE-ABEC-8F224979B9F1}" dt="2024-11-12T12:56:18.638" v="2294" actId="21"/>
        <pc:sldMkLst>
          <pc:docMk/>
          <pc:sldMk cId="102377537" sldId="2134806683"/>
        </pc:sldMkLst>
        <pc:spChg chg="del">
          <ac:chgData name="Mohamed Ibissi" userId="90b6f8706c8cb808" providerId="LiveId" clId="{7F1EA6FA-D2B5-47DE-ABEC-8F224979B9F1}" dt="2024-11-12T12:40:34.904" v="2112" actId="478"/>
          <ac:spMkLst>
            <pc:docMk/>
            <pc:sldMk cId="102377537" sldId="2134806683"/>
            <ac:spMk id="9" creationId="{D2A161B7-D0D7-0310-5EFE-C65C16EC1AE8}"/>
          </ac:spMkLst>
        </pc:spChg>
        <pc:spChg chg="mod">
          <ac:chgData name="Mohamed Ibissi" userId="90b6f8706c8cb808" providerId="LiveId" clId="{7F1EA6FA-D2B5-47DE-ABEC-8F224979B9F1}" dt="2024-11-12T12:42:54.873" v="2198" actId="20577"/>
          <ac:spMkLst>
            <pc:docMk/>
            <pc:sldMk cId="102377537" sldId="2134806683"/>
            <ac:spMk id="14" creationId="{AC5E8791-B63E-7482-E286-1CB3543C76A4}"/>
          </ac:spMkLst>
        </pc:spChg>
        <pc:picChg chg="add del mod">
          <ac:chgData name="Mohamed Ibissi" userId="90b6f8706c8cb808" providerId="LiveId" clId="{7F1EA6FA-D2B5-47DE-ABEC-8F224979B9F1}" dt="2024-11-12T12:45:59.348" v="2199" actId="478"/>
          <ac:picMkLst>
            <pc:docMk/>
            <pc:sldMk cId="102377537" sldId="2134806683"/>
            <ac:picMk id="4" creationId="{035EAC58-9F7B-0E6D-1EC0-30A0867B5152}"/>
          </ac:picMkLst>
        </pc:picChg>
        <pc:picChg chg="del">
          <ac:chgData name="Mohamed Ibissi" userId="90b6f8706c8cb808" providerId="LiveId" clId="{7F1EA6FA-D2B5-47DE-ABEC-8F224979B9F1}" dt="2024-11-12T12:40:06.987" v="2109" actId="478"/>
          <ac:picMkLst>
            <pc:docMk/>
            <pc:sldMk cId="102377537" sldId="2134806683"/>
            <ac:picMk id="8" creationId="{95497CC8-8746-E537-836B-CBAFB4CF55EB}"/>
          </ac:picMkLst>
        </pc:picChg>
        <pc:picChg chg="add del mod">
          <ac:chgData name="Mohamed Ibissi" userId="90b6f8706c8cb808" providerId="LiveId" clId="{7F1EA6FA-D2B5-47DE-ABEC-8F224979B9F1}" dt="2024-11-12T12:46:09.995" v="2204" actId="478"/>
          <ac:picMkLst>
            <pc:docMk/>
            <pc:sldMk cId="102377537" sldId="2134806683"/>
            <ac:picMk id="17" creationId="{82562A64-ABA1-A734-A13F-57796C033325}"/>
          </ac:picMkLst>
        </pc:picChg>
        <pc:picChg chg="add mod">
          <ac:chgData name="Mohamed Ibissi" userId="90b6f8706c8cb808" providerId="LiveId" clId="{7F1EA6FA-D2B5-47DE-ABEC-8F224979B9F1}" dt="2024-11-12T12:53:46.037" v="2220" actId="1076"/>
          <ac:picMkLst>
            <pc:docMk/>
            <pc:sldMk cId="102377537" sldId="2134806683"/>
            <ac:picMk id="19" creationId="{8732CCFA-D517-5D8F-18DF-F63C34D2689C}"/>
          </ac:picMkLst>
        </pc:picChg>
        <pc:picChg chg="add del mod">
          <ac:chgData name="Mohamed Ibissi" userId="90b6f8706c8cb808" providerId="LiveId" clId="{7F1EA6FA-D2B5-47DE-ABEC-8F224979B9F1}" dt="2024-11-12T12:56:18.638" v="2294" actId="21"/>
          <ac:picMkLst>
            <pc:docMk/>
            <pc:sldMk cId="102377537" sldId="2134806683"/>
            <ac:picMk id="21" creationId="{D334BE5A-C595-4251-DE20-E0DF07BC29B5}"/>
          </ac:picMkLst>
        </pc:picChg>
        <pc:cxnChg chg="add mod">
          <ac:chgData name="Mohamed Ibissi" userId="90b6f8706c8cb808" providerId="LiveId" clId="{7F1EA6FA-D2B5-47DE-ABEC-8F224979B9F1}" dt="2024-11-12T12:47:00.353" v="2205" actId="208"/>
          <ac:cxnSpMkLst>
            <pc:docMk/>
            <pc:sldMk cId="102377537" sldId="2134806683"/>
            <ac:cxnSpMk id="10" creationId="{5B45370F-B70F-64B4-E4C5-5FE56466EF27}"/>
          </ac:cxnSpMkLst>
        </pc:cxnChg>
        <pc:cxnChg chg="add mod">
          <ac:chgData name="Mohamed Ibissi" userId="90b6f8706c8cb808" providerId="LiveId" clId="{7F1EA6FA-D2B5-47DE-ABEC-8F224979B9F1}" dt="2024-11-12T12:47:00.353" v="2205" actId="208"/>
          <ac:cxnSpMkLst>
            <pc:docMk/>
            <pc:sldMk cId="102377537" sldId="2134806683"/>
            <ac:cxnSpMk id="12" creationId="{597D0ED7-84C5-3A48-C5F5-A8FFD49A282E}"/>
          </ac:cxnSpMkLst>
        </pc:cxnChg>
        <pc:cxnChg chg="add mod">
          <ac:chgData name="Mohamed Ibissi" userId="90b6f8706c8cb808" providerId="LiveId" clId="{7F1EA6FA-D2B5-47DE-ABEC-8F224979B9F1}" dt="2024-11-12T12:47:00.353" v="2205" actId="208"/>
          <ac:cxnSpMkLst>
            <pc:docMk/>
            <pc:sldMk cId="102377537" sldId="2134806683"/>
            <ac:cxnSpMk id="13" creationId="{96D8460B-E912-1335-1EFC-4B2FE53A1152}"/>
          </ac:cxnSpMkLst>
        </pc:cxnChg>
        <pc:cxnChg chg="add mod">
          <ac:chgData name="Mohamed Ibissi" userId="90b6f8706c8cb808" providerId="LiveId" clId="{7F1EA6FA-D2B5-47DE-ABEC-8F224979B9F1}" dt="2024-11-12T12:47:00.353" v="2205" actId="208"/>
          <ac:cxnSpMkLst>
            <pc:docMk/>
            <pc:sldMk cId="102377537" sldId="2134806683"/>
            <ac:cxnSpMk id="15" creationId="{B2DF41B0-AA5D-47F1-A56C-04BFE9D7D0E6}"/>
          </ac:cxnSpMkLst>
        </pc:cxnChg>
      </pc:sldChg>
      <pc:sldChg chg="addSp delSp modSp add mod">
        <pc:chgData name="Mohamed Ibissi" userId="90b6f8706c8cb808" providerId="LiveId" clId="{7F1EA6FA-D2B5-47DE-ABEC-8F224979B9F1}" dt="2024-11-12T12:56:44.014" v="2299" actId="20577"/>
        <pc:sldMkLst>
          <pc:docMk/>
          <pc:sldMk cId="760188990" sldId="2134806684"/>
        </pc:sldMkLst>
        <pc:spChg chg="add mod">
          <ac:chgData name="Mohamed Ibissi" userId="90b6f8706c8cb808" providerId="LiveId" clId="{7F1EA6FA-D2B5-47DE-ABEC-8F224979B9F1}" dt="2024-11-12T12:55:30.421" v="2285"/>
          <ac:spMkLst>
            <pc:docMk/>
            <pc:sldMk cId="760188990" sldId="2134806684"/>
            <ac:spMk id="5" creationId="{319B3A0C-74FE-5586-09B8-E62E7C1A5A71}"/>
          </ac:spMkLst>
        </pc:spChg>
        <pc:spChg chg="del">
          <ac:chgData name="Mohamed Ibissi" userId="90b6f8706c8cb808" providerId="LiveId" clId="{7F1EA6FA-D2B5-47DE-ABEC-8F224979B9F1}" dt="2024-11-12T12:55:23.150" v="2284" actId="478"/>
          <ac:spMkLst>
            <pc:docMk/>
            <pc:sldMk cId="760188990" sldId="2134806684"/>
            <ac:spMk id="6" creationId="{781A59CD-1FC4-D40D-8277-ADB19D9A33A4}"/>
          </ac:spMkLst>
        </pc:spChg>
        <pc:spChg chg="del">
          <ac:chgData name="Mohamed Ibissi" userId="90b6f8706c8cb808" providerId="LiveId" clId="{7F1EA6FA-D2B5-47DE-ABEC-8F224979B9F1}" dt="2024-11-12T12:54:17.979" v="2222" actId="478"/>
          <ac:spMkLst>
            <pc:docMk/>
            <pc:sldMk cId="760188990" sldId="2134806684"/>
            <ac:spMk id="9" creationId="{9818C88F-FA94-B396-8A04-92F3A204D924}"/>
          </ac:spMkLst>
        </pc:spChg>
        <pc:spChg chg="mod">
          <ac:chgData name="Mohamed Ibissi" userId="90b6f8706c8cb808" providerId="LiveId" clId="{7F1EA6FA-D2B5-47DE-ABEC-8F224979B9F1}" dt="2024-11-12T12:56:44.014" v="2299" actId="20577"/>
          <ac:spMkLst>
            <pc:docMk/>
            <pc:sldMk cId="760188990" sldId="2134806684"/>
            <ac:spMk id="14" creationId="{A3A09515-144A-2E77-7F2F-72AECEEFAD4E}"/>
          </ac:spMkLst>
        </pc:spChg>
        <pc:picChg chg="del">
          <ac:chgData name="Mohamed Ibissi" userId="90b6f8706c8cb808" providerId="LiveId" clId="{7F1EA6FA-D2B5-47DE-ABEC-8F224979B9F1}" dt="2024-11-12T12:55:23.150" v="2284" actId="478"/>
          <ac:picMkLst>
            <pc:docMk/>
            <pc:sldMk cId="760188990" sldId="2134806684"/>
            <ac:picMk id="2" creationId="{5769E8FE-6A15-CD5B-046E-8115DA1F6E75}"/>
          </ac:picMkLst>
        </pc:picChg>
        <pc:picChg chg="add del mod">
          <ac:chgData name="Mohamed Ibissi" userId="90b6f8706c8cb808" providerId="LiveId" clId="{7F1EA6FA-D2B5-47DE-ABEC-8F224979B9F1}" dt="2024-11-12T12:56:23.939" v="2295" actId="478"/>
          <ac:picMkLst>
            <pc:docMk/>
            <pc:sldMk cId="760188990" sldId="2134806684"/>
            <ac:picMk id="4" creationId="{1BAB4E54-83CD-6E30-77FC-66DA2CE34BA9}"/>
          </ac:picMkLst>
        </pc:picChg>
        <pc:picChg chg="del">
          <ac:chgData name="Mohamed Ibissi" userId="90b6f8706c8cb808" providerId="LiveId" clId="{7F1EA6FA-D2B5-47DE-ABEC-8F224979B9F1}" dt="2024-11-12T12:40:29.649" v="2110" actId="21"/>
          <ac:picMkLst>
            <pc:docMk/>
            <pc:sldMk cId="760188990" sldId="2134806684"/>
            <ac:picMk id="8" creationId="{035EAC58-9F7B-0E6D-1EC0-30A0867B5152}"/>
          </ac:picMkLst>
        </pc:picChg>
        <pc:picChg chg="add del mod">
          <ac:chgData name="Mohamed Ibissi" userId="90b6f8706c8cb808" providerId="LiveId" clId="{7F1EA6FA-D2B5-47DE-ABEC-8F224979B9F1}" dt="2024-11-12T12:55:33.251" v="2286" actId="478"/>
          <ac:picMkLst>
            <pc:docMk/>
            <pc:sldMk cId="760188990" sldId="2134806684"/>
            <ac:picMk id="15" creationId="{200F1F97-E354-D1BB-1754-D6A57BEAE218}"/>
          </ac:picMkLst>
        </pc:picChg>
        <pc:picChg chg="add mod ord">
          <ac:chgData name="Mohamed Ibissi" userId="90b6f8706c8cb808" providerId="LiveId" clId="{7F1EA6FA-D2B5-47DE-ABEC-8F224979B9F1}" dt="2024-11-12T12:56:32.305" v="2298" actId="170"/>
          <ac:picMkLst>
            <pc:docMk/>
            <pc:sldMk cId="760188990" sldId="2134806684"/>
            <ac:picMk id="21" creationId="{D334BE5A-C595-4251-DE20-E0DF07BC29B5}"/>
          </ac:picMkLst>
        </pc:picChg>
        <pc:cxnChg chg="add mod">
          <ac:chgData name="Mohamed Ibissi" userId="90b6f8706c8cb808" providerId="LiveId" clId="{7F1EA6FA-D2B5-47DE-ABEC-8F224979B9F1}" dt="2024-11-12T12:55:30.421" v="2285"/>
          <ac:cxnSpMkLst>
            <pc:docMk/>
            <pc:sldMk cId="760188990" sldId="2134806684"/>
            <ac:cxnSpMk id="10" creationId="{B3D63C6F-79BE-20F9-503C-2E478A2BE862}"/>
          </ac:cxnSpMkLst>
        </pc:cxnChg>
        <pc:cxnChg chg="add mod">
          <ac:chgData name="Mohamed Ibissi" userId="90b6f8706c8cb808" providerId="LiveId" clId="{7F1EA6FA-D2B5-47DE-ABEC-8F224979B9F1}" dt="2024-11-12T12:55:30.421" v="2285"/>
          <ac:cxnSpMkLst>
            <pc:docMk/>
            <pc:sldMk cId="760188990" sldId="2134806684"/>
            <ac:cxnSpMk id="11" creationId="{A02A3725-5101-1AF7-17EC-8B577B6AC913}"/>
          </ac:cxnSpMkLst>
        </pc:cxnChg>
        <pc:cxnChg chg="add mod">
          <ac:chgData name="Mohamed Ibissi" userId="90b6f8706c8cb808" providerId="LiveId" clId="{7F1EA6FA-D2B5-47DE-ABEC-8F224979B9F1}" dt="2024-11-12T12:55:30.421" v="2285"/>
          <ac:cxnSpMkLst>
            <pc:docMk/>
            <pc:sldMk cId="760188990" sldId="2134806684"/>
            <ac:cxnSpMk id="12" creationId="{DA97711A-18DB-BB79-F460-707082FB8A94}"/>
          </ac:cxnSpMkLst>
        </pc:cxnChg>
        <pc:cxnChg chg="add mod">
          <ac:chgData name="Mohamed Ibissi" userId="90b6f8706c8cb808" providerId="LiveId" clId="{7F1EA6FA-D2B5-47DE-ABEC-8F224979B9F1}" dt="2024-11-12T12:55:30.421" v="2285"/>
          <ac:cxnSpMkLst>
            <pc:docMk/>
            <pc:sldMk cId="760188990" sldId="2134806684"/>
            <ac:cxnSpMk id="13" creationId="{241937E5-5BA5-6A2E-1AB6-1836257C8AF6}"/>
          </ac:cxnSpMkLst>
        </pc:cxnChg>
      </pc:sldChg>
      <pc:sldChg chg="addSp delSp modSp add mod">
        <pc:chgData name="Mohamed Ibissi" userId="90b6f8706c8cb808" providerId="LiveId" clId="{7F1EA6FA-D2B5-47DE-ABEC-8F224979B9F1}" dt="2024-11-12T21:04:11.266" v="3519" actId="170"/>
        <pc:sldMkLst>
          <pc:docMk/>
          <pc:sldMk cId="3027305" sldId="2134806685"/>
        </pc:sldMkLst>
        <pc:spChg chg="mod">
          <ac:chgData name="Mohamed Ibissi" userId="90b6f8706c8cb808" providerId="LiveId" clId="{7F1EA6FA-D2B5-47DE-ABEC-8F224979B9F1}" dt="2024-11-12T20:14:10.302" v="2589" actId="1035"/>
          <ac:spMkLst>
            <pc:docMk/>
            <pc:sldMk cId="3027305" sldId="2134806685"/>
            <ac:spMk id="14" creationId="{ED61AE50-A154-EBF5-5A9F-5EC24A2D4988}"/>
          </ac:spMkLst>
        </pc:spChg>
        <pc:spChg chg="mod">
          <ac:chgData name="Mohamed Ibissi" userId="90b6f8706c8cb808" providerId="LiveId" clId="{7F1EA6FA-D2B5-47DE-ABEC-8F224979B9F1}" dt="2024-11-12T20:12:12.184" v="2547" actId="14100"/>
          <ac:spMkLst>
            <pc:docMk/>
            <pc:sldMk cId="3027305" sldId="2134806685"/>
            <ac:spMk id="17" creationId="{DA295BA4-D8A7-68BB-9768-5FBCE62F8D68}"/>
          </ac:spMkLst>
        </pc:spChg>
        <pc:spChg chg="mod">
          <ac:chgData name="Mohamed Ibissi" userId="90b6f8706c8cb808" providerId="LiveId" clId="{7F1EA6FA-D2B5-47DE-ABEC-8F224979B9F1}" dt="2024-11-12T20:12:04.336" v="2546" actId="14100"/>
          <ac:spMkLst>
            <pc:docMk/>
            <pc:sldMk cId="3027305" sldId="2134806685"/>
            <ac:spMk id="18" creationId="{E7E64F74-9282-D0BC-5D2F-CFBDED93A3AB}"/>
          </ac:spMkLst>
        </pc:spChg>
        <pc:picChg chg="add del mod ord">
          <ac:chgData name="Mohamed Ibissi" userId="90b6f8706c8cb808" providerId="LiveId" clId="{7F1EA6FA-D2B5-47DE-ABEC-8F224979B9F1}" dt="2024-11-12T21:03:58.888" v="3516" actId="478"/>
          <ac:picMkLst>
            <pc:docMk/>
            <pc:sldMk cId="3027305" sldId="2134806685"/>
            <ac:picMk id="4" creationId="{1CD020A6-189A-4348-4B8C-2B8FA80E658A}"/>
          </ac:picMkLst>
        </pc:picChg>
        <pc:picChg chg="add mod ord">
          <ac:chgData name="Mohamed Ibissi" userId="90b6f8706c8cb808" providerId="LiveId" clId="{7F1EA6FA-D2B5-47DE-ABEC-8F224979B9F1}" dt="2024-11-12T21:04:11.266" v="3519" actId="170"/>
          <ac:picMkLst>
            <pc:docMk/>
            <pc:sldMk cId="3027305" sldId="2134806685"/>
            <ac:picMk id="5" creationId="{A0EDB0D7-534E-C847-3954-300B26785B36}"/>
          </ac:picMkLst>
        </pc:picChg>
        <pc:picChg chg="del">
          <ac:chgData name="Mohamed Ibissi" userId="90b6f8706c8cb808" providerId="LiveId" clId="{7F1EA6FA-D2B5-47DE-ABEC-8F224979B9F1}" dt="2024-11-12T20:09:15.386" v="2498" actId="478"/>
          <ac:picMkLst>
            <pc:docMk/>
            <pc:sldMk cId="3027305" sldId="2134806685"/>
            <ac:picMk id="16" creationId="{102B0E92-D6C2-B5C6-6E75-F8C1F8CFD0BA}"/>
          </ac:picMkLst>
        </pc:picChg>
      </pc:sldChg>
      <pc:sldChg chg="add del">
        <pc:chgData name="Mohamed Ibissi" userId="90b6f8706c8cb808" providerId="LiveId" clId="{7F1EA6FA-D2B5-47DE-ABEC-8F224979B9F1}" dt="2024-11-12T20:08:35.657" v="2496" actId="2890"/>
        <pc:sldMkLst>
          <pc:docMk/>
          <pc:sldMk cId="47682275" sldId="2134806685"/>
        </pc:sldMkLst>
      </pc:sldChg>
      <pc:sldChg chg="addSp delSp modSp add mod replId modAnim">
        <pc:chgData name="Mohamed Ibissi" userId="90b6f8706c8cb808" providerId="LiveId" clId="{7F1EA6FA-D2B5-47DE-ABEC-8F224979B9F1}" dt="2024-11-12T21:02:35.603" v="3515"/>
        <pc:sldMkLst>
          <pc:docMk/>
          <pc:sldMk cId="878529097" sldId="2134806686"/>
        </pc:sldMkLst>
        <pc:spChg chg="add mod">
          <ac:chgData name="Mohamed Ibissi" userId="90b6f8706c8cb808" providerId="LiveId" clId="{7F1EA6FA-D2B5-47DE-ABEC-8F224979B9F1}" dt="2024-11-12T20:14:35.040" v="2593"/>
          <ac:spMkLst>
            <pc:docMk/>
            <pc:sldMk cId="878529097" sldId="2134806686"/>
            <ac:spMk id="5" creationId="{580E20BD-EE79-D33B-59DF-75F199F2158D}"/>
          </ac:spMkLst>
        </pc:spChg>
        <pc:spChg chg="del">
          <ac:chgData name="Mohamed Ibissi" userId="90b6f8706c8cb808" providerId="LiveId" clId="{7F1EA6FA-D2B5-47DE-ABEC-8F224979B9F1}" dt="2024-11-12T20:14:28.987" v="2592" actId="478"/>
          <ac:spMkLst>
            <pc:docMk/>
            <pc:sldMk cId="878529097" sldId="2134806686"/>
            <ac:spMk id="6" creationId="{7278EBAC-2A32-1A84-AD49-205FFF43446E}"/>
          </ac:spMkLst>
        </pc:spChg>
        <pc:spChg chg="add mod">
          <ac:chgData name="Mohamed Ibissi" userId="90b6f8706c8cb808" providerId="LiveId" clId="{7F1EA6FA-D2B5-47DE-ABEC-8F224979B9F1}" dt="2024-11-12T21:01:01.413" v="3505" actId="1038"/>
          <ac:spMkLst>
            <pc:docMk/>
            <pc:sldMk cId="878529097" sldId="2134806686"/>
            <ac:spMk id="8" creationId="{1ACCF4C6-8B63-E309-7923-84F61B69487A}"/>
          </ac:spMkLst>
        </pc:spChg>
        <pc:spChg chg="del">
          <ac:chgData name="Mohamed Ibissi" userId="90b6f8706c8cb808" providerId="LiveId" clId="{7F1EA6FA-D2B5-47DE-ABEC-8F224979B9F1}" dt="2024-11-12T20:14:18.229" v="2590" actId="478"/>
          <ac:spMkLst>
            <pc:docMk/>
            <pc:sldMk cId="878529097" sldId="2134806686"/>
            <ac:spMk id="9" creationId="{8B9C141A-D2EB-6296-3B8E-1C50914103ED}"/>
          </ac:spMkLst>
        </pc:spChg>
        <pc:spChg chg="add mod">
          <ac:chgData name="Mohamed Ibissi" userId="90b6f8706c8cb808" providerId="LiveId" clId="{7F1EA6FA-D2B5-47DE-ABEC-8F224979B9F1}" dt="2024-11-12T21:00:55.109" v="3503" actId="1038"/>
          <ac:spMkLst>
            <pc:docMk/>
            <pc:sldMk cId="878529097" sldId="2134806686"/>
            <ac:spMk id="10" creationId="{5CFE15AD-54EA-467A-503A-2F130925EF31}"/>
          </ac:spMkLst>
        </pc:spChg>
        <pc:spChg chg="add mod">
          <ac:chgData name="Mohamed Ibissi" userId="90b6f8706c8cb808" providerId="LiveId" clId="{7F1EA6FA-D2B5-47DE-ABEC-8F224979B9F1}" dt="2024-11-12T21:00:58.018" v="3504" actId="1038"/>
          <ac:spMkLst>
            <pc:docMk/>
            <pc:sldMk cId="878529097" sldId="2134806686"/>
            <ac:spMk id="11" creationId="{68D3931D-A7D2-B67E-6DB4-57250C358F51}"/>
          </ac:spMkLst>
        </pc:spChg>
        <pc:spChg chg="mod">
          <ac:chgData name="Mohamed Ibissi" userId="90b6f8706c8cb808" providerId="LiveId" clId="{7F1EA6FA-D2B5-47DE-ABEC-8F224979B9F1}" dt="2024-11-12T20:33:28.669" v="2926" actId="20577"/>
          <ac:spMkLst>
            <pc:docMk/>
            <pc:sldMk cId="878529097" sldId="2134806686"/>
            <ac:spMk id="14" creationId="{61696EE0-A203-0B50-9A6C-34B972DB973D}"/>
          </ac:spMkLst>
        </pc:spChg>
        <pc:picChg chg="del">
          <ac:chgData name="Mohamed Ibissi" userId="90b6f8706c8cb808" providerId="LiveId" clId="{7F1EA6FA-D2B5-47DE-ABEC-8F224979B9F1}" dt="2024-11-12T20:09:23.391" v="2499" actId="478"/>
          <ac:picMkLst>
            <pc:docMk/>
            <pc:sldMk cId="878529097" sldId="2134806686"/>
            <ac:picMk id="2" creationId="{1E2D78B9-D4A4-17C2-FFDC-94D313B6B05C}"/>
          </ac:picMkLst>
        </pc:picChg>
        <pc:picChg chg="add mod">
          <ac:chgData name="Mohamed Ibissi" userId="90b6f8706c8cb808" providerId="LiveId" clId="{7F1EA6FA-D2B5-47DE-ABEC-8F224979B9F1}" dt="2024-11-12T21:00:06.764" v="3496" actId="14826"/>
          <ac:picMkLst>
            <pc:docMk/>
            <pc:sldMk cId="878529097" sldId="2134806686"/>
            <ac:picMk id="4" creationId="{56C1710D-00B3-ED12-BD66-85997B5993BE}"/>
          </ac:picMkLst>
        </pc:picChg>
      </pc:sldChg>
      <pc:sldChg chg="add del replId">
        <pc:chgData name="Mohamed Ibissi" userId="90b6f8706c8cb808" providerId="LiveId" clId="{7F1EA6FA-D2B5-47DE-ABEC-8F224979B9F1}" dt="2024-11-12T20:08:35.657" v="2496" actId="2890"/>
        <pc:sldMkLst>
          <pc:docMk/>
          <pc:sldMk cId="4283632534" sldId="2134806686"/>
        </pc:sldMkLst>
      </pc:sldChg>
      <pc:sldChg chg="add del replId">
        <pc:chgData name="Mohamed Ibissi" userId="90b6f8706c8cb808" providerId="LiveId" clId="{7F1EA6FA-D2B5-47DE-ABEC-8F224979B9F1}" dt="2024-11-12T20:08:35.657" v="2496" actId="2890"/>
        <pc:sldMkLst>
          <pc:docMk/>
          <pc:sldMk cId="1586874365" sldId="2134806687"/>
        </pc:sldMkLst>
      </pc:sldChg>
      <pc:sldChg chg="delSp add del mod replId">
        <pc:chgData name="Mohamed Ibissi" userId="90b6f8706c8cb808" providerId="LiveId" clId="{7F1EA6FA-D2B5-47DE-ABEC-8F224979B9F1}" dt="2024-11-12T20:17:17.221" v="2661" actId="47"/>
        <pc:sldMkLst>
          <pc:docMk/>
          <pc:sldMk cId="3572559283" sldId="2134806687"/>
        </pc:sldMkLst>
        <pc:picChg chg="del">
          <ac:chgData name="Mohamed Ibissi" userId="90b6f8706c8cb808" providerId="LiveId" clId="{7F1EA6FA-D2B5-47DE-ABEC-8F224979B9F1}" dt="2024-11-12T20:09:25.973" v="2500" actId="478"/>
          <ac:picMkLst>
            <pc:docMk/>
            <pc:sldMk cId="3572559283" sldId="2134806687"/>
            <ac:picMk id="2" creationId="{B08B2C47-DC89-BF29-22B2-11F1E22FEBAE}"/>
          </ac:picMkLst>
        </pc:picChg>
      </pc:sldChg>
      <pc:sldChg chg="delSp add del mod replId">
        <pc:chgData name="Mohamed Ibissi" userId="90b6f8706c8cb808" providerId="LiveId" clId="{7F1EA6FA-D2B5-47DE-ABEC-8F224979B9F1}" dt="2024-11-12T20:17:20.394" v="2662" actId="47"/>
        <pc:sldMkLst>
          <pc:docMk/>
          <pc:sldMk cId="290857665" sldId="2134806688"/>
        </pc:sldMkLst>
        <pc:picChg chg="del">
          <ac:chgData name="Mohamed Ibissi" userId="90b6f8706c8cb808" providerId="LiveId" clId="{7F1EA6FA-D2B5-47DE-ABEC-8F224979B9F1}" dt="2024-11-12T20:09:31.273" v="2501" actId="478"/>
          <ac:picMkLst>
            <pc:docMk/>
            <pc:sldMk cId="290857665" sldId="2134806688"/>
            <ac:picMk id="21" creationId="{7CE4BACD-085A-CF83-E0EA-3D90CE553654}"/>
          </ac:picMkLst>
        </pc:picChg>
      </pc:sldChg>
      <pc:sldChg chg="add del replId">
        <pc:chgData name="Mohamed Ibissi" userId="90b6f8706c8cb808" providerId="LiveId" clId="{7F1EA6FA-D2B5-47DE-ABEC-8F224979B9F1}" dt="2024-11-12T20:08:35.657" v="2496" actId="2890"/>
        <pc:sldMkLst>
          <pc:docMk/>
          <pc:sldMk cId="789980227" sldId="2134806688"/>
        </pc:sldMkLst>
      </pc:sldChg>
      <pc:sldChg chg="addSp delSp modSp add mod replId">
        <pc:chgData name="Mohamed Ibissi" userId="90b6f8706c8cb808" providerId="LiveId" clId="{7F1EA6FA-D2B5-47DE-ABEC-8F224979B9F1}" dt="2024-11-12T21:04:50.865" v="3524" actId="20577"/>
        <pc:sldMkLst>
          <pc:docMk/>
          <pc:sldMk cId="1826554160" sldId="2134806689"/>
        </pc:sldMkLst>
        <pc:spChg chg="mod ord">
          <ac:chgData name="Mohamed Ibissi" userId="90b6f8706c8cb808" providerId="LiveId" clId="{7F1EA6FA-D2B5-47DE-ABEC-8F224979B9F1}" dt="2024-11-12T20:17:54.854" v="2672" actId="14100"/>
          <ac:spMkLst>
            <pc:docMk/>
            <pc:sldMk cId="1826554160" sldId="2134806689"/>
            <ac:spMk id="4" creationId="{F04211D1-C418-55EC-79EA-A6252B439BED}"/>
          </ac:spMkLst>
        </pc:spChg>
        <pc:spChg chg="mod">
          <ac:chgData name="Mohamed Ibissi" userId="90b6f8706c8cb808" providerId="LiveId" clId="{7F1EA6FA-D2B5-47DE-ABEC-8F224979B9F1}" dt="2024-11-12T20:26:25.018" v="2789" actId="1076"/>
          <ac:spMkLst>
            <pc:docMk/>
            <pc:sldMk cId="1826554160" sldId="2134806689"/>
            <ac:spMk id="5" creationId="{CA62BFDC-94EF-027C-B8A5-B50FEE55A993}"/>
          </ac:spMkLst>
        </pc:spChg>
        <pc:spChg chg="mod">
          <ac:chgData name="Mohamed Ibissi" userId="90b6f8706c8cb808" providerId="LiveId" clId="{7F1EA6FA-D2B5-47DE-ABEC-8F224979B9F1}" dt="2024-11-12T21:04:50.865" v="3524" actId="20577"/>
          <ac:spMkLst>
            <pc:docMk/>
            <pc:sldMk cId="1826554160" sldId="2134806689"/>
            <ac:spMk id="6" creationId="{46724788-1B90-8363-ADEB-61B3854C2C7C}"/>
          </ac:spMkLst>
        </pc:spChg>
        <pc:picChg chg="del">
          <ac:chgData name="Mohamed Ibissi" userId="90b6f8706c8cb808" providerId="LiveId" clId="{7F1EA6FA-D2B5-47DE-ABEC-8F224979B9F1}" dt="2024-11-12T20:10:04.648" v="2502" actId="478"/>
          <ac:picMkLst>
            <pc:docMk/>
            <pc:sldMk cId="1826554160" sldId="2134806689"/>
            <ac:picMk id="2" creationId="{C4A2DA18-C35C-DD4F-4CBB-91EA5DEBB0E2}"/>
          </ac:picMkLst>
        </pc:picChg>
        <pc:picChg chg="add del mod">
          <ac:chgData name="Mohamed Ibissi" userId="90b6f8706c8cb808" providerId="LiveId" clId="{7F1EA6FA-D2B5-47DE-ABEC-8F224979B9F1}" dt="2024-11-12T20:26:21.702" v="2788" actId="21"/>
          <ac:picMkLst>
            <pc:docMk/>
            <pc:sldMk cId="1826554160" sldId="2134806689"/>
            <ac:picMk id="7" creationId="{A9381738-A5AC-5562-9854-8EC419F6A25E}"/>
          </ac:picMkLst>
        </pc:picChg>
        <pc:picChg chg="add mod ord">
          <ac:chgData name="Mohamed Ibissi" userId="90b6f8706c8cb808" providerId="LiveId" clId="{7F1EA6FA-D2B5-47DE-ABEC-8F224979B9F1}" dt="2024-11-12T20:26:32.004" v="2791" actId="171"/>
          <ac:picMkLst>
            <pc:docMk/>
            <pc:sldMk cId="1826554160" sldId="2134806689"/>
            <ac:picMk id="9" creationId="{A9381738-A5AC-5562-9854-8EC419F6A25E}"/>
          </ac:picMkLst>
        </pc:picChg>
      </pc:sldChg>
      <pc:sldChg chg="add del replId">
        <pc:chgData name="Mohamed Ibissi" userId="90b6f8706c8cb808" providerId="LiveId" clId="{7F1EA6FA-D2B5-47DE-ABEC-8F224979B9F1}" dt="2024-11-12T20:08:35.657" v="2496" actId="2890"/>
        <pc:sldMkLst>
          <pc:docMk/>
          <pc:sldMk cId="3451521022" sldId="2134806689"/>
        </pc:sldMkLst>
      </pc:sldChg>
      <pc:sldChg chg="addSp delSp modSp add mod replId delAnim modAnim">
        <pc:chgData name="Mohamed Ibissi" userId="90b6f8706c8cb808" providerId="LiveId" clId="{7F1EA6FA-D2B5-47DE-ABEC-8F224979B9F1}" dt="2024-11-12T20:24:39.912" v="2781" actId="1038"/>
        <pc:sldMkLst>
          <pc:docMk/>
          <pc:sldMk cId="89193210" sldId="2134806690"/>
        </pc:sldMkLst>
        <pc:spChg chg="add mod">
          <ac:chgData name="Mohamed Ibissi" userId="90b6f8706c8cb808" providerId="LiveId" clId="{7F1EA6FA-D2B5-47DE-ABEC-8F224979B9F1}" dt="2024-11-12T20:20:48.108" v="2740" actId="208"/>
          <ac:spMkLst>
            <pc:docMk/>
            <pc:sldMk cId="89193210" sldId="2134806690"/>
            <ac:spMk id="5" creationId="{6CC32CCD-C2BE-7AC3-4613-1B0C14BFFA3A}"/>
          </ac:spMkLst>
        </pc:spChg>
        <pc:spChg chg="add mod">
          <ac:chgData name="Mohamed Ibissi" userId="90b6f8706c8cb808" providerId="LiveId" clId="{7F1EA6FA-D2B5-47DE-ABEC-8F224979B9F1}" dt="2024-11-12T20:20:48.108" v="2740" actId="208"/>
          <ac:spMkLst>
            <pc:docMk/>
            <pc:sldMk cId="89193210" sldId="2134806690"/>
            <ac:spMk id="6" creationId="{2487B4F0-E5BD-E828-BF26-EF1427955EAF}"/>
          </ac:spMkLst>
        </pc:spChg>
        <pc:spChg chg="add mod">
          <ac:chgData name="Mohamed Ibissi" userId="90b6f8706c8cb808" providerId="LiveId" clId="{7F1EA6FA-D2B5-47DE-ABEC-8F224979B9F1}" dt="2024-11-12T20:24:36.895" v="2780" actId="1037"/>
          <ac:spMkLst>
            <pc:docMk/>
            <pc:sldMk cId="89193210" sldId="2134806690"/>
            <ac:spMk id="7" creationId="{98394423-C669-5870-07EF-FE2703AB53DD}"/>
          </ac:spMkLst>
        </pc:spChg>
        <pc:spChg chg="add mod">
          <ac:chgData name="Mohamed Ibissi" userId="90b6f8706c8cb808" providerId="LiveId" clId="{7F1EA6FA-D2B5-47DE-ABEC-8F224979B9F1}" dt="2024-11-12T20:20:59.382" v="2746" actId="1035"/>
          <ac:spMkLst>
            <pc:docMk/>
            <pc:sldMk cId="89193210" sldId="2134806690"/>
            <ac:spMk id="8" creationId="{0DA581AE-D6E8-02F8-6601-357BD4A7CA0F}"/>
          </ac:spMkLst>
        </pc:spChg>
        <pc:spChg chg="del">
          <ac:chgData name="Mohamed Ibissi" userId="90b6f8706c8cb808" providerId="LiveId" clId="{7F1EA6FA-D2B5-47DE-ABEC-8F224979B9F1}" dt="2024-11-12T20:10:11.889" v="2504" actId="478"/>
          <ac:spMkLst>
            <pc:docMk/>
            <pc:sldMk cId="89193210" sldId="2134806690"/>
            <ac:spMk id="11" creationId="{3C7C34D3-AFE2-B5A7-263E-E24DA2FADCEE}"/>
          </ac:spMkLst>
        </pc:spChg>
        <pc:spChg chg="del">
          <ac:chgData name="Mohamed Ibissi" userId="90b6f8706c8cb808" providerId="LiveId" clId="{7F1EA6FA-D2B5-47DE-ABEC-8F224979B9F1}" dt="2024-11-12T20:10:11.889" v="2504" actId="478"/>
          <ac:spMkLst>
            <pc:docMk/>
            <pc:sldMk cId="89193210" sldId="2134806690"/>
            <ac:spMk id="12" creationId="{DD1FE537-B5CD-BC41-A5D0-E0DABBABF5AD}"/>
          </ac:spMkLst>
        </pc:spChg>
        <pc:spChg chg="del">
          <ac:chgData name="Mohamed Ibissi" userId="90b6f8706c8cb808" providerId="LiveId" clId="{7F1EA6FA-D2B5-47DE-ABEC-8F224979B9F1}" dt="2024-11-12T20:10:11.889" v="2504" actId="478"/>
          <ac:spMkLst>
            <pc:docMk/>
            <pc:sldMk cId="89193210" sldId="2134806690"/>
            <ac:spMk id="13" creationId="{40512595-B50E-7C0B-5E47-613FCEDA600C}"/>
          </ac:spMkLst>
        </pc:spChg>
        <pc:spChg chg="del">
          <ac:chgData name="Mohamed Ibissi" userId="90b6f8706c8cb808" providerId="LiveId" clId="{7F1EA6FA-D2B5-47DE-ABEC-8F224979B9F1}" dt="2024-11-12T20:10:11.889" v="2504" actId="478"/>
          <ac:spMkLst>
            <pc:docMk/>
            <pc:sldMk cId="89193210" sldId="2134806690"/>
            <ac:spMk id="14" creationId="{25400949-D05D-4CF3-B69A-25CA7B6F73EF}"/>
          </ac:spMkLst>
        </pc:spChg>
        <pc:spChg chg="add mod">
          <ac:chgData name="Mohamed Ibissi" userId="90b6f8706c8cb808" providerId="LiveId" clId="{7F1EA6FA-D2B5-47DE-ABEC-8F224979B9F1}" dt="2024-11-12T20:24:39.912" v="2781" actId="1038"/>
          <ac:spMkLst>
            <pc:docMk/>
            <pc:sldMk cId="89193210" sldId="2134806690"/>
            <ac:spMk id="15" creationId="{AE618143-8B21-E295-5A67-CC250D12A69C}"/>
          </ac:spMkLst>
        </pc:spChg>
        <pc:spChg chg="add mod">
          <ac:chgData name="Mohamed Ibissi" userId="90b6f8706c8cb808" providerId="LiveId" clId="{7F1EA6FA-D2B5-47DE-ABEC-8F224979B9F1}" dt="2024-11-12T20:22:22.940" v="2761" actId="207"/>
          <ac:spMkLst>
            <pc:docMk/>
            <pc:sldMk cId="89193210" sldId="2134806690"/>
            <ac:spMk id="16" creationId="{18F3346F-80D8-726D-A281-85170C3141E0}"/>
          </ac:spMkLst>
        </pc:spChg>
        <pc:spChg chg="add mod">
          <ac:chgData name="Mohamed Ibissi" userId="90b6f8706c8cb808" providerId="LiveId" clId="{7F1EA6FA-D2B5-47DE-ABEC-8F224979B9F1}" dt="2024-11-12T20:22:22.940" v="2761" actId="207"/>
          <ac:spMkLst>
            <pc:docMk/>
            <pc:sldMk cId="89193210" sldId="2134806690"/>
            <ac:spMk id="17" creationId="{C055584F-3938-C930-9E26-A61B78524DA0}"/>
          </ac:spMkLst>
        </pc:spChg>
        <pc:spChg chg="add mod">
          <ac:chgData name="Mohamed Ibissi" userId="90b6f8706c8cb808" providerId="LiveId" clId="{7F1EA6FA-D2B5-47DE-ABEC-8F224979B9F1}" dt="2024-11-12T20:21:37.552" v="2754" actId="1038"/>
          <ac:spMkLst>
            <pc:docMk/>
            <pc:sldMk cId="89193210" sldId="2134806690"/>
            <ac:spMk id="18" creationId="{7F5F68AE-3A0B-E612-7881-D35118CF5041}"/>
          </ac:spMkLst>
        </pc:spChg>
        <pc:spChg chg="add mod">
          <ac:chgData name="Mohamed Ibissi" userId="90b6f8706c8cb808" providerId="LiveId" clId="{7F1EA6FA-D2B5-47DE-ABEC-8F224979B9F1}" dt="2024-11-12T20:21:34.909" v="2753" actId="1038"/>
          <ac:spMkLst>
            <pc:docMk/>
            <pc:sldMk cId="89193210" sldId="2134806690"/>
            <ac:spMk id="19" creationId="{86AF9A72-7416-AC2F-9B16-5EE997724715}"/>
          </ac:spMkLst>
        </pc:spChg>
        <pc:spChg chg="add mod">
          <ac:chgData name="Mohamed Ibissi" userId="90b6f8706c8cb808" providerId="LiveId" clId="{7F1EA6FA-D2B5-47DE-ABEC-8F224979B9F1}" dt="2024-11-12T20:21:30.216" v="2752" actId="1038"/>
          <ac:spMkLst>
            <pc:docMk/>
            <pc:sldMk cId="89193210" sldId="2134806690"/>
            <ac:spMk id="20" creationId="{62431A8E-D701-D0E2-D5F3-E01BDE720B89}"/>
          </ac:spMkLst>
        </pc:spChg>
        <pc:spChg chg="add mod">
          <ac:chgData name="Mohamed Ibissi" userId="90b6f8706c8cb808" providerId="LiveId" clId="{7F1EA6FA-D2B5-47DE-ABEC-8F224979B9F1}" dt="2024-11-12T20:22:27.381" v="2762" actId="207"/>
          <ac:spMkLst>
            <pc:docMk/>
            <pc:sldMk cId="89193210" sldId="2134806690"/>
            <ac:spMk id="21" creationId="{50A5135D-6972-E570-A6CF-BFE62B3CF6F0}"/>
          </ac:spMkLst>
        </pc:spChg>
        <pc:spChg chg="add mod">
          <ac:chgData name="Mohamed Ibissi" userId="90b6f8706c8cb808" providerId="LiveId" clId="{7F1EA6FA-D2B5-47DE-ABEC-8F224979B9F1}" dt="2024-11-12T20:22:27.381" v="2762" actId="207"/>
          <ac:spMkLst>
            <pc:docMk/>
            <pc:sldMk cId="89193210" sldId="2134806690"/>
            <ac:spMk id="22" creationId="{90AB6B07-F248-80D7-3D1C-F82C28FEB0AF}"/>
          </ac:spMkLst>
        </pc:spChg>
        <pc:spChg chg="add mod">
          <ac:chgData name="Mohamed Ibissi" userId="90b6f8706c8cb808" providerId="LiveId" clId="{7F1EA6FA-D2B5-47DE-ABEC-8F224979B9F1}" dt="2024-11-12T20:22:06.632" v="2759" actId="1037"/>
          <ac:spMkLst>
            <pc:docMk/>
            <pc:sldMk cId="89193210" sldId="2134806690"/>
            <ac:spMk id="23" creationId="{979BAFBE-00FE-DA0B-A2E1-11D47AEB8307}"/>
          </ac:spMkLst>
        </pc:spChg>
        <pc:spChg chg="add mod">
          <ac:chgData name="Mohamed Ibissi" userId="90b6f8706c8cb808" providerId="LiveId" clId="{7F1EA6FA-D2B5-47DE-ABEC-8F224979B9F1}" dt="2024-11-12T20:22:39.501" v="2763" actId="207"/>
          <ac:spMkLst>
            <pc:docMk/>
            <pc:sldMk cId="89193210" sldId="2134806690"/>
            <ac:spMk id="24" creationId="{3B75BCB4-11DD-823B-55D4-AF9119A6149B}"/>
          </ac:spMkLst>
        </pc:spChg>
        <pc:spChg chg="add mod">
          <ac:chgData name="Mohamed Ibissi" userId="90b6f8706c8cb808" providerId="LiveId" clId="{7F1EA6FA-D2B5-47DE-ABEC-8F224979B9F1}" dt="2024-11-12T20:22:39.501" v="2763" actId="207"/>
          <ac:spMkLst>
            <pc:docMk/>
            <pc:sldMk cId="89193210" sldId="2134806690"/>
            <ac:spMk id="25" creationId="{47251B23-7354-C470-B372-CDA7A54221CC}"/>
          </ac:spMkLst>
        </pc:spChg>
        <pc:spChg chg="add mod">
          <ac:chgData name="Mohamed Ibissi" userId="90b6f8706c8cb808" providerId="LiveId" clId="{7F1EA6FA-D2B5-47DE-ABEC-8F224979B9F1}" dt="2024-11-12T20:22:39.501" v="2763" actId="207"/>
          <ac:spMkLst>
            <pc:docMk/>
            <pc:sldMk cId="89193210" sldId="2134806690"/>
            <ac:spMk id="26" creationId="{5C3B6905-70EC-0CAB-8087-9963E9D0422B}"/>
          </ac:spMkLst>
        </pc:spChg>
        <pc:spChg chg="add mod">
          <ac:chgData name="Mohamed Ibissi" userId="90b6f8706c8cb808" providerId="LiveId" clId="{7F1EA6FA-D2B5-47DE-ABEC-8F224979B9F1}" dt="2024-11-12T20:22:39.501" v="2763" actId="207"/>
          <ac:spMkLst>
            <pc:docMk/>
            <pc:sldMk cId="89193210" sldId="2134806690"/>
            <ac:spMk id="27" creationId="{2EAD9C5A-8DDB-A33E-7847-C6FD154689A4}"/>
          </ac:spMkLst>
        </pc:spChg>
        <pc:picChg chg="add mod">
          <ac:chgData name="Mohamed Ibissi" userId="90b6f8706c8cb808" providerId="LiveId" clId="{7F1EA6FA-D2B5-47DE-ABEC-8F224979B9F1}" dt="2024-11-12T20:18:51.596" v="2723"/>
          <ac:picMkLst>
            <pc:docMk/>
            <pc:sldMk cId="89193210" sldId="2134806690"/>
            <ac:picMk id="2" creationId="{389AF3F7-11B8-F434-FE16-D34DBC3AD0AF}"/>
          </ac:picMkLst>
        </pc:picChg>
        <pc:picChg chg="del">
          <ac:chgData name="Mohamed Ibissi" userId="90b6f8706c8cb808" providerId="LiveId" clId="{7F1EA6FA-D2B5-47DE-ABEC-8F224979B9F1}" dt="2024-11-12T20:10:09.122" v="2503" actId="478"/>
          <ac:picMkLst>
            <pc:docMk/>
            <pc:sldMk cId="89193210" sldId="2134806690"/>
            <ac:picMk id="10" creationId="{892565C4-D4EF-59DC-41E7-EBE147DDDF26}"/>
          </ac:picMkLst>
        </pc:picChg>
      </pc:sldChg>
      <pc:sldChg chg="addSp delSp modSp add mod">
        <pc:chgData name="Mohamed Ibissi" userId="90b6f8706c8cb808" providerId="LiveId" clId="{7F1EA6FA-D2B5-47DE-ABEC-8F224979B9F1}" dt="2024-11-12T20:30:32.247" v="2823" actId="20577"/>
        <pc:sldMkLst>
          <pc:docMk/>
          <pc:sldMk cId="2482475371" sldId="2134806691"/>
        </pc:sldMkLst>
        <pc:spChg chg="add mod">
          <ac:chgData name="Mohamed Ibissi" userId="90b6f8706c8cb808" providerId="LiveId" clId="{7F1EA6FA-D2B5-47DE-ABEC-8F224979B9F1}" dt="2024-11-12T20:29:58.999" v="2801" actId="14100"/>
          <ac:spMkLst>
            <pc:docMk/>
            <pc:sldMk cId="2482475371" sldId="2134806691"/>
            <ac:spMk id="6" creationId="{61DF8761-F903-9EA1-D639-AA0C3E34DB63}"/>
          </ac:spMkLst>
        </pc:spChg>
        <pc:spChg chg="add mod">
          <ac:chgData name="Mohamed Ibissi" userId="90b6f8706c8cb808" providerId="LiveId" clId="{7F1EA6FA-D2B5-47DE-ABEC-8F224979B9F1}" dt="2024-11-12T20:30:11.550" v="2803" actId="1076"/>
          <ac:spMkLst>
            <pc:docMk/>
            <pc:sldMk cId="2482475371" sldId="2134806691"/>
            <ac:spMk id="8" creationId="{46F74095-DE7D-9CD4-BAD7-417CAC630D3A}"/>
          </ac:spMkLst>
        </pc:spChg>
        <pc:spChg chg="mod">
          <ac:chgData name="Mohamed Ibissi" userId="90b6f8706c8cb808" providerId="LiveId" clId="{7F1EA6FA-D2B5-47DE-ABEC-8F224979B9F1}" dt="2024-11-12T20:30:32.247" v="2823" actId="20577"/>
          <ac:spMkLst>
            <pc:docMk/>
            <pc:sldMk cId="2482475371" sldId="2134806691"/>
            <ac:spMk id="14" creationId="{06BEC777-3B91-F16B-8BC4-B90F83652980}"/>
          </ac:spMkLst>
        </pc:spChg>
        <pc:spChg chg="del">
          <ac:chgData name="Mohamed Ibissi" userId="90b6f8706c8cb808" providerId="LiveId" clId="{7F1EA6FA-D2B5-47DE-ABEC-8F224979B9F1}" dt="2024-11-12T20:25:43.042" v="2783" actId="478"/>
          <ac:spMkLst>
            <pc:docMk/>
            <pc:sldMk cId="2482475371" sldId="2134806691"/>
            <ac:spMk id="17" creationId="{0EE12F0E-A0F9-4812-3A39-90A9641F3C65}"/>
          </ac:spMkLst>
        </pc:spChg>
        <pc:spChg chg="del">
          <ac:chgData name="Mohamed Ibissi" userId="90b6f8706c8cb808" providerId="LiveId" clId="{7F1EA6FA-D2B5-47DE-ABEC-8F224979B9F1}" dt="2024-11-12T20:25:43.042" v="2783" actId="478"/>
          <ac:spMkLst>
            <pc:docMk/>
            <pc:sldMk cId="2482475371" sldId="2134806691"/>
            <ac:spMk id="18" creationId="{259BE0E1-E819-5D5E-718F-3A484673FC79}"/>
          </ac:spMkLst>
        </pc:spChg>
        <pc:picChg chg="del">
          <ac:chgData name="Mohamed Ibissi" userId="90b6f8706c8cb808" providerId="LiveId" clId="{7F1EA6FA-D2B5-47DE-ABEC-8F224979B9F1}" dt="2024-11-12T20:25:43.042" v="2783" actId="478"/>
          <ac:picMkLst>
            <pc:docMk/>
            <pc:sldMk cId="2482475371" sldId="2134806691"/>
            <ac:picMk id="4" creationId="{2350A9D1-F9F1-0F82-A570-EF5EA9A77717}"/>
          </ac:picMkLst>
        </pc:picChg>
        <pc:picChg chg="add mod">
          <ac:chgData name="Mohamed Ibissi" userId="90b6f8706c8cb808" providerId="LiveId" clId="{7F1EA6FA-D2B5-47DE-ABEC-8F224979B9F1}" dt="2024-11-12T20:29:41.081" v="2799" actId="14826"/>
          <ac:picMkLst>
            <pc:docMk/>
            <pc:sldMk cId="2482475371" sldId="2134806691"/>
            <ac:picMk id="5" creationId="{E4B6C46E-1898-1C0A-7DAB-B07D10F718C0}"/>
          </ac:picMkLst>
        </pc:picChg>
      </pc:sldChg>
      <pc:sldChg chg="addSp delSp modSp add mod replId modAnim">
        <pc:chgData name="Mohamed Ibissi" userId="90b6f8706c8cb808" providerId="LiveId" clId="{7F1EA6FA-D2B5-47DE-ABEC-8F224979B9F1}" dt="2024-11-12T20:36:05.221" v="2953"/>
        <pc:sldMkLst>
          <pc:docMk/>
          <pc:sldMk cId="122462988" sldId="2134806692"/>
        </pc:sldMkLst>
        <pc:spChg chg="del">
          <ac:chgData name="Mohamed Ibissi" userId="90b6f8706c8cb808" providerId="LiveId" clId="{7F1EA6FA-D2B5-47DE-ABEC-8F224979B9F1}" dt="2024-11-12T20:30:49.197" v="2824" actId="478"/>
          <ac:spMkLst>
            <pc:docMk/>
            <pc:sldMk cId="122462988" sldId="2134806692"/>
            <ac:spMk id="5" creationId="{676678E6-A655-C63A-7C6A-F4E0F68E69DF}"/>
          </ac:spMkLst>
        </pc:spChg>
        <pc:spChg chg="add mod">
          <ac:chgData name="Mohamed Ibissi" userId="90b6f8706c8cb808" providerId="LiveId" clId="{7F1EA6FA-D2B5-47DE-ABEC-8F224979B9F1}" dt="2024-11-12T20:30:49.620" v="2825"/>
          <ac:spMkLst>
            <pc:docMk/>
            <pc:sldMk cId="122462988" sldId="2134806692"/>
            <ac:spMk id="6" creationId="{5AC3EED0-4972-1E08-91A8-74F6359ED43B}"/>
          </ac:spMkLst>
        </pc:spChg>
        <pc:spChg chg="add mod">
          <ac:chgData name="Mohamed Ibissi" userId="90b6f8706c8cb808" providerId="LiveId" clId="{7F1EA6FA-D2B5-47DE-ABEC-8F224979B9F1}" dt="2024-11-12T20:32:32.465" v="2901" actId="14100"/>
          <ac:spMkLst>
            <pc:docMk/>
            <pc:sldMk cId="122462988" sldId="2134806692"/>
            <ac:spMk id="8" creationId="{6EDAEFC2-5157-DD76-E02F-F7B90E8C78B1}"/>
          </ac:spMkLst>
        </pc:spChg>
        <pc:spChg chg="add mod">
          <ac:chgData name="Mohamed Ibissi" userId="90b6f8706c8cb808" providerId="LiveId" clId="{7F1EA6FA-D2B5-47DE-ABEC-8F224979B9F1}" dt="2024-11-12T20:33:00.272" v="2917" actId="20577"/>
          <ac:spMkLst>
            <pc:docMk/>
            <pc:sldMk cId="122462988" sldId="2134806692"/>
            <ac:spMk id="9" creationId="{A1114CF3-484A-FBEF-60B9-B6C03F9C44DC}"/>
          </ac:spMkLst>
        </pc:spChg>
        <pc:spChg chg="add mod">
          <ac:chgData name="Mohamed Ibissi" userId="90b6f8706c8cb808" providerId="LiveId" clId="{7F1EA6FA-D2B5-47DE-ABEC-8F224979B9F1}" dt="2024-11-12T20:34:33.196" v="2941" actId="1037"/>
          <ac:spMkLst>
            <pc:docMk/>
            <pc:sldMk cId="122462988" sldId="2134806692"/>
            <ac:spMk id="10" creationId="{BA380C25-AFD3-D1EF-3A10-4B0A2CF2A8A4}"/>
          </ac:spMkLst>
        </pc:spChg>
        <pc:spChg chg="add mod">
          <ac:chgData name="Mohamed Ibissi" userId="90b6f8706c8cb808" providerId="LiveId" clId="{7F1EA6FA-D2B5-47DE-ABEC-8F224979B9F1}" dt="2024-11-12T20:34:41.751" v="2943" actId="1076"/>
          <ac:spMkLst>
            <pc:docMk/>
            <pc:sldMk cId="122462988" sldId="2134806692"/>
            <ac:spMk id="11" creationId="{A62C213F-6B87-FF3C-6CA6-245D22E6D150}"/>
          </ac:spMkLst>
        </pc:spChg>
        <pc:spChg chg="mod">
          <ac:chgData name="Mohamed Ibissi" userId="90b6f8706c8cb808" providerId="LiveId" clId="{7F1EA6FA-D2B5-47DE-ABEC-8F224979B9F1}" dt="2024-11-12T20:31:31.903" v="2843" actId="1076"/>
          <ac:spMkLst>
            <pc:docMk/>
            <pc:sldMk cId="122462988" sldId="2134806692"/>
            <ac:spMk id="14" creationId="{1C239B3B-368D-CAF7-48A2-B08410B8B70A}"/>
          </ac:spMkLst>
        </pc:spChg>
        <pc:picChg chg="add mod">
          <ac:chgData name="Mohamed Ibissi" userId="90b6f8706c8cb808" providerId="LiveId" clId="{7F1EA6FA-D2B5-47DE-ABEC-8F224979B9F1}" dt="2024-11-12T20:30:49.620" v="2825"/>
          <ac:picMkLst>
            <pc:docMk/>
            <pc:sldMk cId="122462988" sldId="2134806692"/>
            <ac:picMk id="2" creationId="{0F5A0098-48F9-4F6C-BC31-A2A838DAD1A0}"/>
          </ac:picMkLst>
        </pc:picChg>
        <pc:picChg chg="del">
          <ac:chgData name="Mohamed Ibissi" userId="90b6f8706c8cb808" providerId="LiveId" clId="{7F1EA6FA-D2B5-47DE-ABEC-8F224979B9F1}" dt="2024-11-12T20:25:49.746" v="2784" actId="478"/>
          <ac:picMkLst>
            <pc:docMk/>
            <pc:sldMk cId="122462988" sldId="2134806692"/>
            <ac:picMk id="4" creationId="{840A7C17-9405-E9FD-82FC-F15551BB35C2}"/>
          </ac:picMkLst>
        </pc:picChg>
      </pc:sldChg>
      <pc:sldChg chg="addSp delSp modSp add mod replId modAnim">
        <pc:chgData name="Mohamed Ibissi" userId="90b6f8706c8cb808" providerId="LiveId" clId="{7F1EA6FA-D2B5-47DE-ABEC-8F224979B9F1}" dt="2024-11-12T20:58:17.077" v="3495" actId="1035"/>
        <pc:sldMkLst>
          <pc:docMk/>
          <pc:sldMk cId="722213215" sldId="2134806693"/>
        </pc:sldMkLst>
        <pc:spChg chg="mod ord">
          <ac:chgData name="Mohamed Ibissi" userId="90b6f8706c8cb808" providerId="LiveId" clId="{7F1EA6FA-D2B5-47DE-ABEC-8F224979B9F1}" dt="2024-11-12T20:36:51.258" v="2959" actId="14100"/>
          <ac:spMkLst>
            <pc:docMk/>
            <pc:sldMk cId="722213215" sldId="2134806693"/>
            <ac:spMk id="4" creationId="{2118DA01-267A-743F-66B1-F10CFCF051D5}"/>
          </ac:spMkLst>
        </pc:spChg>
        <pc:spChg chg="del mod">
          <ac:chgData name="Mohamed Ibissi" userId="90b6f8706c8cb808" providerId="LiveId" clId="{7F1EA6FA-D2B5-47DE-ABEC-8F224979B9F1}" dt="2024-11-12T20:36:23.736" v="2955" actId="478"/>
          <ac:spMkLst>
            <pc:docMk/>
            <pc:sldMk cId="722213215" sldId="2134806693"/>
            <ac:spMk id="5" creationId="{30C63504-4713-E3A7-C91A-8A413B6336BF}"/>
          </ac:spMkLst>
        </pc:spChg>
        <pc:spChg chg="mod">
          <ac:chgData name="Mohamed Ibissi" userId="90b6f8706c8cb808" providerId="LiveId" clId="{7F1EA6FA-D2B5-47DE-ABEC-8F224979B9F1}" dt="2024-11-12T20:58:17.077" v="3495" actId="1035"/>
          <ac:spMkLst>
            <pc:docMk/>
            <pc:sldMk cId="722213215" sldId="2134806693"/>
            <ac:spMk id="6" creationId="{1EE0679F-ED60-9A54-900E-FC5910FC35C8}"/>
          </ac:spMkLst>
        </pc:spChg>
        <pc:spChg chg="add mod">
          <ac:chgData name="Mohamed Ibissi" userId="90b6f8706c8cb808" providerId="LiveId" clId="{7F1EA6FA-D2B5-47DE-ABEC-8F224979B9F1}" dt="2024-11-12T20:40:58.218" v="3025" actId="207"/>
          <ac:spMkLst>
            <pc:docMk/>
            <pc:sldMk cId="722213215" sldId="2134806693"/>
            <ac:spMk id="9" creationId="{E3C9F38F-00E9-7797-1372-BAED89D0F08F}"/>
          </ac:spMkLst>
        </pc:spChg>
        <pc:spChg chg="add mod">
          <ac:chgData name="Mohamed Ibissi" userId="90b6f8706c8cb808" providerId="LiveId" clId="{7F1EA6FA-D2B5-47DE-ABEC-8F224979B9F1}" dt="2024-11-12T20:40:58.218" v="3025" actId="207"/>
          <ac:spMkLst>
            <pc:docMk/>
            <pc:sldMk cId="722213215" sldId="2134806693"/>
            <ac:spMk id="10" creationId="{94AAD3D8-E2BB-AA8C-500A-FA92BAD9AE4A}"/>
          </ac:spMkLst>
        </pc:spChg>
        <pc:spChg chg="add mod">
          <ac:chgData name="Mohamed Ibissi" userId="90b6f8706c8cb808" providerId="LiveId" clId="{7F1EA6FA-D2B5-47DE-ABEC-8F224979B9F1}" dt="2024-11-12T20:40:58.218" v="3025" actId="207"/>
          <ac:spMkLst>
            <pc:docMk/>
            <pc:sldMk cId="722213215" sldId="2134806693"/>
            <ac:spMk id="11" creationId="{72A4ECAB-EBA6-F157-052A-7977F247D90D}"/>
          </ac:spMkLst>
        </pc:spChg>
        <pc:spChg chg="add mod">
          <ac:chgData name="Mohamed Ibissi" userId="90b6f8706c8cb808" providerId="LiveId" clId="{7F1EA6FA-D2B5-47DE-ABEC-8F224979B9F1}" dt="2024-11-12T20:40:58.218" v="3025" actId="207"/>
          <ac:spMkLst>
            <pc:docMk/>
            <pc:sldMk cId="722213215" sldId="2134806693"/>
            <ac:spMk id="12" creationId="{B362D1EC-CFA3-2DCD-0EBE-5418F85F7AA7}"/>
          </ac:spMkLst>
        </pc:spChg>
        <pc:picChg chg="add mod">
          <ac:chgData name="Mohamed Ibissi" userId="90b6f8706c8cb808" providerId="LiveId" clId="{7F1EA6FA-D2B5-47DE-ABEC-8F224979B9F1}" dt="2024-11-12T20:38:36.963" v="2964" actId="14826"/>
          <ac:picMkLst>
            <pc:docMk/>
            <pc:sldMk cId="722213215" sldId="2134806693"/>
            <ac:picMk id="2" creationId="{45C7EF7D-3168-7DE8-5619-9AB895293690}"/>
          </ac:picMkLst>
        </pc:picChg>
        <pc:picChg chg="del">
          <ac:chgData name="Mohamed Ibissi" userId="90b6f8706c8cb808" providerId="LiveId" clId="{7F1EA6FA-D2B5-47DE-ABEC-8F224979B9F1}" dt="2024-11-12T20:25:54.249" v="2785" actId="478"/>
          <ac:picMkLst>
            <pc:docMk/>
            <pc:sldMk cId="722213215" sldId="2134806693"/>
            <ac:picMk id="7" creationId="{52B9189C-BCC8-31F4-B182-79C258992A18}"/>
          </ac:picMkLst>
        </pc:picChg>
      </pc:sldChg>
      <pc:sldChg chg="addSp delSp modSp add mod replId delAnim modAnim">
        <pc:chgData name="Mohamed Ibissi" userId="90b6f8706c8cb808" providerId="LiveId" clId="{7F1EA6FA-D2B5-47DE-ABEC-8F224979B9F1}" dt="2024-11-12T20:45:57.989" v="3160"/>
        <pc:sldMkLst>
          <pc:docMk/>
          <pc:sldMk cId="199586178" sldId="2134806694"/>
        </pc:sldMkLst>
        <pc:spChg chg="mod">
          <ac:chgData name="Mohamed Ibissi" userId="90b6f8706c8cb808" providerId="LiveId" clId="{7F1EA6FA-D2B5-47DE-ABEC-8F224979B9F1}" dt="2024-11-12T20:42:33.204" v="3093" actId="20577"/>
          <ac:spMkLst>
            <pc:docMk/>
            <pc:sldMk cId="199586178" sldId="2134806694"/>
            <ac:spMk id="3" creationId="{79745B09-6955-14B9-9B87-26750FB5AF14}"/>
          </ac:spMkLst>
        </pc:spChg>
        <pc:spChg chg="del">
          <ac:chgData name="Mohamed Ibissi" userId="90b6f8706c8cb808" providerId="LiveId" clId="{7F1EA6FA-D2B5-47DE-ABEC-8F224979B9F1}" dt="2024-11-12T20:26:07.256" v="2787" actId="478"/>
          <ac:spMkLst>
            <pc:docMk/>
            <pc:sldMk cId="199586178" sldId="2134806694"/>
            <ac:spMk id="5" creationId="{BCB3C186-3090-FC49-E890-684B33985624}"/>
          </ac:spMkLst>
        </pc:spChg>
        <pc:spChg chg="del">
          <ac:chgData name="Mohamed Ibissi" userId="90b6f8706c8cb808" providerId="LiveId" clId="{7F1EA6FA-D2B5-47DE-ABEC-8F224979B9F1}" dt="2024-11-12T20:26:07.256" v="2787" actId="478"/>
          <ac:spMkLst>
            <pc:docMk/>
            <pc:sldMk cId="199586178" sldId="2134806694"/>
            <ac:spMk id="6" creationId="{821FF3B6-FADD-01DC-AC57-9E386476C41A}"/>
          </ac:spMkLst>
        </pc:spChg>
        <pc:spChg chg="del">
          <ac:chgData name="Mohamed Ibissi" userId="90b6f8706c8cb808" providerId="LiveId" clId="{7F1EA6FA-D2B5-47DE-ABEC-8F224979B9F1}" dt="2024-11-12T20:26:07.256" v="2787" actId="478"/>
          <ac:spMkLst>
            <pc:docMk/>
            <pc:sldMk cId="199586178" sldId="2134806694"/>
            <ac:spMk id="7" creationId="{2371E290-8FBB-EA23-86EB-82368873167B}"/>
          </ac:spMkLst>
        </pc:spChg>
        <pc:spChg chg="del">
          <ac:chgData name="Mohamed Ibissi" userId="90b6f8706c8cb808" providerId="LiveId" clId="{7F1EA6FA-D2B5-47DE-ABEC-8F224979B9F1}" dt="2024-11-12T20:26:07.256" v="2787" actId="478"/>
          <ac:spMkLst>
            <pc:docMk/>
            <pc:sldMk cId="199586178" sldId="2134806694"/>
            <ac:spMk id="8" creationId="{9D66BEB2-8D09-2B9C-4011-82B6AB1AA1AE}"/>
          </ac:spMkLst>
        </pc:spChg>
        <pc:spChg chg="add mod">
          <ac:chgData name="Mohamed Ibissi" userId="90b6f8706c8cb808" providerId="LiveId" clId="{7F1EA6FA-D2B5-47DE-ABEC-8F224979B9F1}" dt="2024-11-12T20:41:46.243" v="3037" actId="14100"/>
          <ac:spMkLst>
            <pc:docMk/>
            <pc:sldMk cId="199586178" sldId="2134806694"/>
            <ac:spMk id="11" creationId="{28E9C908-3C62-1495-75B6-7B826F440EFF}"/>
          </ac:spMkLst>
        </pc:spChg>
        <pc:spChg chg="add mod">
          <ac:chgData name="Mohamed Ibissi" userId="90b6f8706c8cb808" providerId="LiveId" clId="{7F1EA6FA-D2B5-47DE-ABEC-8F224979B9F1}" dt="2024-11-12T20:41:23.774" v="3026"/>
          <ac:spMkLst>
            <pc:docMk/>
            <pc:sldMk cId="199586178" sldId="2134806694"/>
            <ac:spMk id="12" creationId="{8D47DF4E-6A87-F16B-846B-3F55D276F96F}"/>
          </ac:spMkLst>
        </pc:spChg>
        <pc:spChg chg="add mod">
          <ac:chgData name="Mohamed Ibissi" userId="90b6f8706c8cb808" providerId="LiveId" clId="{7F1EA6FA-D2B5-47DE-ABEC-8F224979B9F1}" dt="2024-11-12T20:41:23.774" v="3026"/>
          <ac:spMkLst>
            <pc:docMk/>
            <pc:sldMk cId="199586178" sldId="2134806694"/>
            <ac:spMk id="13" creationId="{2D1A65EB-D30D-FF4D-EADF-A110509E920D}"/>
          </ac:spMkLst>
        </pc:spChg>
        <pc:spChg chg="add mod">
          <ac:chgData name="Mohamed Ibissi" userId="90b6f8706c8cb808" providerId="LiveId" clId="{7F1EA6FA-D2B5-47DE-ABEC-8F224979B9F1}" dt="2024-11-12T20:41:23.774" v="3026"/>
          <ac:spMkLst>
            <pc:docMk/>
            <pc:sldMk cId="199586178" sldId="2134806694"/>
            <ac:spMk id="14" creationId="{46636B86-9713-0C67-4B11-84107F0484FD}"/>
          </ac:spMkLst>
        </pc:spChg>
        <pc:spChg chg="del">
          <ac:chgData name="Mohamed Ibissi" userId="90b6f8706c8cb808" providerId="LiveId" clId="{7F1EA6FA-D2B5-47DE-ABEC-8F224979B9F1}" dt="2024-11-12T20:26:07.256" v="2787" actId="478"/>
          <ac:spMkLst>
            <pc:docMk/>
            <pc:sldMk cId="199586178" sldId="2134806694"/>
            <ac:spMk id="15" creationId="{DBB20C72-2568-E210-2052-9D10A45331F5}"/>
          </ac:spMkLst>
        </pc:spChg>
        <pc:spChg chg="del">
          <ac:chgData name="Mohamed Ibissi" userId="90b6f8706c8cb808" providerId="LiveId" clId="{7F1EA6FA-D2B5-47DE-ABEC-8F224979B9F1}" dt="2024-11-12T20:26:07.256" v="2787" actId="478"/>
          <ac:spMkLst>
            <pc:docMk/>
            <pc:sldMk cId="199586178" sldId="2134806694"/>
            <ac:spMk id="16" creationId="{216D0062-58C3-336B-A8F4-67E3ADA5F91C}"/>
          </ac:spMkLst>
        </pc:spChg>
        <pc:spChg chg="del">
          <ac:chgData name="Mohamed Ibissi" userId="90b6f8706c8cb808" providerId="LiveId" clId="{7F1EA6FA-D2B5-47DE-ABEC-8F224979B9F1}" dt="2024-11-12T20:26:07.256" v="2787" actId="478"/>
          <ac:spMkLst>
            <pc:docMk/>
            <pc:sldMk cId="199586178" sldId="2134806694"/>
            <ac:spMk id="17" creationId="{B324870A-64A8-7833-51CD-01BB9839D979}"/>
          </ac:spMkLst>
        </pc:spChg>
        <pc:spChg chg="del">
          <ac:chgData name="Mohamed Ibissi" userId="90b6f8706c8cb808" providerId="LiveId" clId="{7F1EA6FA-D2B5-47DE-ABEC-8F224979B9F1}" dt="2024-11-12T20:26:07.256" v="2787" actId="478"/>
          <ac:spMkLst>
            <pc:docMk/>
            <pc:sldMk cId="199586178" sldId="2134806694"/>
            <ac:spMk id="18" creationId="{BDF524FB-4FE0-D5C4-560F-7905BED3ED6C}"/>
          </ac:spMkLst>
        </pc:spChg>
        <pc:spChg chg="del">
          <ac:chgData name="Mohamed Ibissi" userId="90b6f8706c8cb808" providerId="LiveId" clId="{7F1EA6FA-D2B5-47DE-ABEC-8F224979B9F1}" dt="2024-11-12T20:26:07.256" v="2787" actId="478"/>
          <ac:spMkLst>
            <pc:docMk/>
            <pc:sldMk cId="199586178" sldId="2134806694"/>
            <ac:spMk id="19" creationId="{3D68B78D-ECDB-D191-A5AE-8FB03AA03632}"/>
          </ac:spMkLst>
        </pc:spChg>
        <pc:spChg chg="del">
          <ac:chgData name="Mohamed Ibissi" userId="90b6f8706c8cb808" providerId="LiveId" clId="{7F1EA6FA-D2B5-47DE-ABEC-8F224979B9F1}" dt="2024-11-12T20:26:07.256" v="2787" actId="478"/>
          <ac:spMkLst>
            <pc:docMk/>
            <pc:sldMk cId="199586178" sldId="2134806694"/>
            <ac:spMk id="20" creationId="{1A5DA0F4-9E61-41F2-3107-F7C309D386BE}"/>
          </ac:spMkLst>
        </pc:spChg>
        <pc:spChg chg="del">
          <ac:chgData name="Mohamed Ibissi" userId="90b6f8706c8cb808" providerId="LiveId" clId="{7F1EA6FA-D2B5-47DE-ABEC-8F224979B9F1}" dt="2024-11-12T20:26:07.256" v="2787" actId="478"/>
          <ac:spMkLst>
            <pc:docMk/>
            <pc:sldMk cId="199586178" sldId="2134806694"/>
            <ac:spMk id="21" creationId="{E29AB217-2927-D77B-05E6-46A14D18259A}"/>
          </ac:spMkLst>
        </pc:spChg>
        <pc:spChg chg="del">
          <ac:chgData name="Mohamed Ibissi" userId="90b6f8706c8cb808" providerId="LiveId" clId="{7F1EA6FA-D2B5-47DE-ABEC-8F224979B9F1}" dt="2024-11-12T20:26:07.256" v="2787" actId="478"/>
          <ac:spMkLst>
            <pc:docMk/>
            <pc:sldMk cId="199586178" sldId="2134806694"/>
            <ac:spMk id="22" creationId="{EB894EAD-FA49-1364-8520-076B8908742D}"/>
          </ac:spMkLst>
        </pc:spChg>
        <pc:spChg chg="del">
          <ac:chgData name="Mohamed Ibissi" userId="90b6f8706c8cb808" providerId="LiveId" clId="{7F1EA6FA-D2B5-47DE-ABEC-8F224979B9F1}" dt="2024-11-12T20:26:07.256" v="2787" actId="478"/>
          <ac:spMkLst>
            <pc:docMk/>
            <pc:sldMk cId="199586178" sldId="2134806694"/>
            <ac:spMk id="23" creationId="{9EF60BB9-52DA-235F-81E0-4C8D799A05EA}"/>
          </ac:spMkLst>
        </pc:spChg>
        <pc:spChg chg="del">
          <ac:chgData name="Mohamed Ibissi" userId="90b6f8706c8cb808" providerId="LiveId" clId="{7F1EA6FA-D2B5-47DE-ABEC-8F224979B9F1}" dt="2024-11-12T20:26:07.256" v="2787" actId="478"/>
          <ac:spMkLst>
            <pc:docMk/>
            <pc:sldMk cId="199586178" sldId="2134806694"/>
            <ac:spMk id="24" creationId="{9149181D-61F6-5A10-E77B-585D0798FCC0}"/>
          </ac:spMkLst>
        </pc:spChg>
        <pc:spChg chg="del">
          <ac:chgData name="Mohamed Ibissi" userId="90b6f8706c8cb808" providerId="LiveId" clId="{7F1EA6FA-D2B5-47DE-ABEC-8F224979B9F1}" dt="2024-11-12T20:26:07.256" v="2787" actId="478"/>
          <ac:spMkLst>
            <pc:docMk/>
            <pc:sldMk cId="199586178" sldId="2134806694"/>
            <ac:spMk id="25" creationId="{B3676156-5905-7636-667A-B6BA89D7F665}"/>
          </ac:spMkLst>
        </pc:spChg>
        <pc:spChg chg="del">
          <ac:chgData name="Mohamed Ibissi" userId="90b6f8706c8cb808" providerId="LiveId" clId="{7F1EA6FA-D2B5-47DE-ABEC-8F224979B9F1}" dt="2024-11-12T20:26:07.256" v="2787" actId="478"/>
          <ac:spMkLst>
            <pc:docMk/>
            <pc:sldMk cId="199586178" sldId="2134806694"/>
            <ac:spMk id="26" creationId="{9B114C41-1513-8CC1-408A-500B70323F10}"/>
          </ac:spMkLst>
        </pc:spChg>
        <pc:spChg chg="del">
          <ac:chgData name="Mohamed Ibissi" userId="90b6f8706c8cb808" providerId="LiveId" clId="{7F1EA6FA-D2B5-47DE-ABEC-8F224979B9F1}" dt="2024-11-12T20:26:07.256" v="2787" actId="478"/>
          <ac:spMkLst>
            <pc:docMk/>
            <pc:sldMk cId="199586178" sldId="2134806694"/>
            <ac:spMk id="27" creationId="{AF2B89B8-1082-AD6E-F92E-9BD2928A6628}"/>
          </ac:spMkLst>
        </pc:spChg>
        <pc:spChg chg="add mod">
          <ac:chgData name="Mohamed Ibissi" userId="90b6f8706c8cb808" providerId="LiveId" clId="{7F1EA6FA-D2B5-47DE-ABEC-8F224979B9F1}" dt="2024-11-12T20:41:23.774" v="3026"/>
          <ac:spMkLst>
            <pc:docMk/>
            <pc:sldMk cId="199586178" sldId="2134806694"/>
            <ac:spMk id="28" creationId="{9C600FF4-A98D-271E-628B-BC8B3E37BCEB}"/>
          </ac:spMkLst>
        </pc:spChg>
        <pc:spChg chg="add mod">
          <ac:chgData name="Mohamed Ibissi" userId="90b6f8706c8cb808" providerId="LiveId" clId="{7F1EA6FA-D2B5-47DE-ABEC-8F224979B9F1}" dt="2024-11-12T20:45:04.713" v="3155" actId="20577"/>
          <ac:spMkLst>
            <pc:docMk/>
            <pc:sldMk cId="199586178" sldId="2134806694"/>
            <ac:spMk id="29" creationId="{3558D81A-5F47-2E62-8ED8-9CE2E028B1D2}"/>
          </ac:spMkLst>
        </pc:spChg>
        <pc:picChg chg="del">
          <ac:chgData name="Mohamed Ibissi" userId="90b6f8706c8cb808" providerId="LiveId" clId="{7F1EA6FA-D2B5-47DE-ABEC-8F224979B9F1}" dt="2024-11-12T20:26:02.002" v="2786" actId="478"/>
          <ac:picMkLst>
            <pc:docMk/>
            <pc:sldMk cId="199586178" sldId="2134806694"/>
            <ac:picMk id="2" creationId="{DD8516DE-6B00-9D0D-5E77-B72264CCFC14}"/>
          </ac:picMkLst>
        </pc:picChg>
        <pc:picChg chg="add mod">
          <ac:chgData name="Mohamed Ibissi" userId="90b6f8706c8cb808" providerId="LiveId" clId="{7F1EA6FA-D2B5-47DE-ABEC-8F224979B9F1}" dt="2024-11-12T20:41:23.774" v="3026"/>
          <ac:picMkLst>
            <pc:docMk/>
            <pc:sldMk cId="199586178" sldId="2134806694"/>
            <ac:picMk id="10" creationId="{D67B801E-C4E5-A318-D32F-7E5CCAA8AC89}"/>
          </ac:picMkLst>
        </pc:picChg>
      </pc:sldChg>
      <pc:sldChg chg="modSp add mod">
        <pc:chgData name="Mohamed Ibissi" userId="90b6f8706c8cb808" providerId="LiveId" clId="{7F1EA6FA-D2B5-47DE-ABEC-8F224979B9F1}" dt="2024-11-12T20:44:14.368" v="3151" actId="114"/>
        <pc:sldMkLst>
          <pc:docMk/>
          <pc:sldMk cId="3141802230" sldId="2134806695"/>
        </pc:sldMkLst>
        <pc:spChg chg="mod">
          <ac:chgData name="Mohamed Ibissi" userId="90b6f8706c8cb808" providerId="LiveId" clId="{7F1EA6FA-D2B5-47DE-ABEC-8F224979B9F1}" dt="2024-11-12T20:44:14.368" v="3151" actId="114"/>
          <ac:spMkLst>
            <pc:docMk/>
            <pc:sldMk cId="3141802230" sldId="2134806695"/>
            <ac:spMk id="6" creationId="{4093D1A1-7BFE-079A-84D3-5D9BEE842943}"/>
          </ac:spMkLst>
        </pc:spChg>
      </pc:sldChg>
      <pc:sldChg chg="addSp modSp add mod modAnim">
        <pc:chgData name="Mohamed Ibissi" userId="90b6f8706c8cb808" providerId="LiveId" clId="{7F1EA6FA-D2B5-47DE-ABEC-8F224979B9F1}" dt="2024-11-12T20:48:18.936" v="3297" actId="1038"/>
        <pc:sldMkLst>
          <pc:docMk/>
          <pc:sldMk cId="2722869607" sldId="2134806696"/>
        </pc:sldMkLst>
        <pc:spChg chg="add mod">
          <ac:chgData name="Mohamed Ibissi" userId="90b6f8706c8cb808" providerId="LiveId" clId="{7F1EA6FA-D2B5-47DE-ABEC-8F224979B9F1}" dt="2024-11-12T20:47:37.448" v="3175" actId="1076"/>
          <ac:spMkLst>
            <pc:docMk/>
            <pc:sldMk cId="2722869607" sldId="2134806696"/>
            <ac:spMk id="2" creationId="{DEAEF5AE-DECB-53AC-2F67-1B19810398E8}"/>
          </ac:spMkLst>
        </pc:spChg>
        <pc:spChg chg="mod">
          <ac:chgData name="Mohamed Ibissi" userId="90b6f8706c8cb808" providerId="LiveId" clId="{7F1EA6FA-D2B5-47DE-ABEC-8F224979B9F1}" dt="2024-11-12T20:47:31.485" v="3174" actId="6549"/>
          <ac:spMkLst>
            <pc:docMk/>
            <pc:sldMk cId="2722869607" sldId="2134806696"/>
            <ac:spMk id="3" creationId="{EB6625E9-DA2A-BDE1-CE9A-B50A931CE2F5}"/>
          </ac:spMkLst>
        </pc:spChg>
        <pc:spChg chg="mod">
          <ac:chgData name="Mohamed Ibissi" userId="90b6f8706c8cb808" providerId="LiveId" clId="{7F1EA6FA-D2B5-47DE-ABEC-8F224979B9F1}" dt="2024-11-12T20:48:18.936" v="3297" actId="1038"/>
          <ac:spMkLst>
            <pc:docMk/>
            <pc:sldMk cId="2722869607" sldId="2134806696"/>
            <ac:spMk id="11" creationId="{8BD5185A-CE5E-5932-3977-D9BD5D28F33A}"/>
          </ac:spMkLst>
        </pc:spChg>
      </pc:sldChg>
      <pc:sldChg chg="addSp modSp add mod modAnim">
        <pc:chgData name="Mohamed Ibissi" userId="90b6f8706c8cb808" providerId="LiveId" clId="{7F1EA6FA-D2B5-47DE-ABEC-8F224979B9F1}" dt="2024-11-12T20:49:00.293" v="3305"/>
        <pc:sldMkLst>
          <pc:docMk/>
          <pc:sldMk cId="1739554151" sldId="2134806697"/>
        </pc:sldMkLst>
        <pc:spChg chg="mod">
          <ac:chgData name="Mohamed Ibissi" userId="90b6f8706c8cb808" providerId="LiveId" clId="{7F1EA6FA-D2B5-47DE-ABEC-8F224979B9F1}" dt="2024-11-12T20:48:34.621" v="3300" actId="20577"/>
          <ac:spMkLst>
            <pc:docMk/>
            <pc:sldMk cId="1739554151" sldId="2134806697"/>
            <ac:spMk id="3" creationId="{328A2939-557F-E2B4-0E85-BC42AAA9794D}"/>
          </ac:spMkLst>
        </pc:spChg>
        <pc:spChg chg="add mod">
          <ac:chgData name="Mohamed Ibissi" userId="90b6f8706c8cb808" providerId="LiveId" clId="{7F1EA6FA-D2B5-47DE-ABEC-8F224979B9F1}" dt="2024-11-12T20:48:45.125" v="3303" actId="20577"/>
          <ac:spMkLst>
            <pc:docMk/>
            <pc:sldMk cId="1739554151" sldId="2134806697"/>
            <ac:spMk id="5" creationId="{33C1C44C-3C06-3375-AA4B-E247B160DD49}"/>
          </ac:spMkLst>
        </pc:spChg>
        <pc:spChg chg="mod">
          <ac:chgData name="Mohamed Ibissi" userId="90b6f8706c8cb808" providerId="LiveId" clId="{7F1EA6FA-D2B5-47DE-ABEC-8F224979B9F1}" dt="2024-11-12T20:48:10.756" v="3262" actId="1037"/>
          <ac:spMkLst>
            <pc:docMk/>
            <pc:sldMk cId="1739554151" sldId="2134806697"/>
            <ac:spMk id="11" creationId="{20ECA913-B087-813C-C95B-49AAD60CCAC5}"/>
          </ac:spMkLst>
        </pc:spChg>
      </pc:sldChg>
      <pc:sldChg chg="addSp modSp add mod modAnim">
        <pc:chgData name="Mohamed Ibissi" userId="90b6f8706c8cb808" providerId="LiveId" clId="{7F1EA6FA-D2B5-47DE-ABEC-8F224979B9F1}" dt="2024-11-12T20:49:59.787" v="3354"/>
        <pc:sldMkLst>
          <pc:docMk/>
          <pc:sldMk cId="130529640" sldId="2134806698"/>
        </pc:sldMkLst>
        <pc:spChg chg="mod">
          <ac:chgData name="Mohamed Ibissi" userId="90b6f8706c8cb808" providerId="LiveId" clId="{7F1EA6FA-D2B5-47DE-ABEC-8F224979B9F1}" dt="2024-11-12T20:49:38.055" v="3344" actId="20577"/>
          <ac:spMkLst>
            <pc:docMk/>
            <pc:sldMk cId="130529640" sldId="2134806698"/>
            <ac:spMk id="3" creationId="{1A7FA151-EA5F-3726-D2B1-414AFBB06D4E}"/>
          </ac:spMkLst>
        </pc:spChg>
        <pc:spChg chg="add mod">
          <ac:chgData name="Mohamed Ibissi" userId="90b6f8706c8cb808" providerId="LiveId" clId="{7F1EA6FA-D2B5-47DE-ABEC-8F224979B9F1}" dt="2024-11-12T20:49:55.550" v="3352" actId="1036"/>
          <ac:spMkLst>
            <pc:docMk/>
            <pc:sldMk cId="130529640" sldId="2134806698"/>
            <ac:spMk id="6" creationId="{315062BD-BC7C-603A-FE65-74517619A395}"/>
          </ac:spMkLst>
        </pc:spChg>
        <pc:spChg chg="mod">
          <ac:chgData name="Mohamed Ibissi" userId="90b6f8706c8cb808" providerId="LiveId" clId="{7F1EA6FA-D2B5-47DE-ABEC-8F224979B9F1}" dt="2024-11-12T20:49:25.999" v="3342" actId="1038"/>
          <ac:spMkLst>
            <pc:docMk/>
            <pc:sldMk cId="130529640" sldId="2134806698"/>
            <ac:spMk id="11" creationId="{C4057462-FAF6-2CC0-5F51-2099B06BE4E2}"/>
          </ac:spMkLst>
        </pc:sp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MA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7C2F6EA-2943-4A15-A9FB-D4A77DB509D7}" type="datetimeFigureOut">
              <a:rPr lang="fr-MA" smtClean="0"/>
              <a:t>12/11/2024</a:t>
            </a:fld>
            <a:endParaRPr lang="fr-MA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MA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MA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MA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5580728-7F02-44CF-B57E-CA6F2E760783}" type="slidenum">
              <a:rPr lang="fr-MA" smtClean="0"/>
              <a:t>‹N°›</a:t>
            </a:fld>
            <a:endParaRPr lang="fr-MA"/>
          </a:p>
        </p:txBody>
      </p:sp>
    </p:spTree>
    <p:extLst>
      <p:ext uri="{BB962C8B-B14F-4D97-AF65-F5344CB8AC3E}">
        <p14:creationId xmlns:p14="http://schemas.microsoft.com/office/powerpoint/2010/main" val="248988998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>
          <a:xfrm>
            <a:off x="1371600" y="1143000"/>
            <a:ext cx="4114800" cy="3086100"/>
          </a:xfrm>
        </p:spPr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MA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A0AE87F-B08A-4342-80EC-80A3A2B8D41A}" type="slidenum">
              <a:rPr kumimoji="0" lang="fr-MA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fr-MA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4410846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5580728-7F02-44CF-B57E-CA6F2E760783}" type="slidenum">
              <a:rPr lang="fr-MA" smtClean="0"/>
              <a:t>50</a:t>
            </a:fld>
            <a:endParaRPr lang="fr-MA"/>
          </a:p>
        </p:txBody>
      </p:sp>
    </p:spTree>
    <p:extLst>
      <p:ext uri="{BB962C8B-B14F-4D97-AF65-F5344CB8AC3E}">
        <p14:creationId xmlns:p14="http://schemas.microsoft.com/office/powerpoint/2010/main" val="416269201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122363"/>
            <a:ext cx="77724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B3373A-7926-40BB-B6DF-EC289891A864}" type="datetimeFigureOut">
              <a:rPr lang="fr-FR" smtClean="0"/>
              <a:t>12/11/2024</a:t>
            </a:fld>
            <a:endParaRPr lang="fr-F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4E64FE0-3597-494D-885B-97386FF74333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01240783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B3373A-7926-40BB-B6DF-EC289891A864}" type="datetimeFigureOut">
              <a:rPr lang="fr-FR" smtClean="0"/>
              <a:t>12/11/2024</a:t>
            </a:fld>
            <a:endParaRPr lang="fr-F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4E64FE0-3597-494D-885B-97386FF74333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28442720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800725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B3373A-7926-40BB-B6DF-EC289891A864}" type="datetimeFigureOut">
              <a:rPr lang="fr-FR" smtClean="0"/>
              <a:t>12/11/2024</a:t>
            </a:fld>
            <a:endParaRPr lang="fr-F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4E64FE0-3597-494D-885B-97386FF74333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43629308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B3373A-7926-40BB-B6DF-EC289891A864}" type="datetimeFigureOut">
              <a:rPr lang="fr-FR" smtClean="0"/>
              <a:t>12/11/2024</a:t>
            </a:fld>
            <a:endParaRPr lang="fr-F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4E64FE0-3597-494D-885B-97386FF74333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20026501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709739"/>
            <a:ext cx="78867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4589464"/>
            <a:ext cx="78867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B3373A-7926-40BB-B6DF-EC289891A864}" type="datetimeFigureOut">
              <a:rPr lang="fr-FR" smtClean="0"/>
              <a:t>12/11/2024</a:t>
            </a:fld>
            <a:endParaRPr lang="fr-F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4E64FE0-3597-494D-885B-97386FF74333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95765322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B3373A-7926-40BB-B6DF-EC289891A864}" type="datetimeFigureOut">
              <a:rPr lang="fr-FR" smtClean="0"/>
              <a:t>12/11/2024</a:t>
            </a:fld>
            <a:endParaRPr lang="fr-F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4E64FE0-3597-494D-885B-97386FF74333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44296966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65126"/>
            <a:ext cx="78867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391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391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B3373A-7926-40BB-B6DF-EC289891A864}" type="datetimeFigureOut">
              <a:rPr lang="fr-FR" smtClean="0"/>
              <a:t>12/11/2024</a:t>
            </a:fld>
            <a:endParaRPr lang="fr-FR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4E64FE0-3597-494D-885B-97386FF74333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50652240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B3373A-7926-40BB-B6DF-EC289891A864}" type="datetimeFigureOut">
              <a:rPr lang="fr-FR" smtClean="0"/>
              <a:t>12/11/2024</a:t>
            </a:fld>
            <a:endParaRPr lang="fr-FR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4E64FE0-3597-494D-885B-97386FF74333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06797770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B3373A-7926-40BB-B6DF-EC289891A864}" type="datetimeFigureOut">
              <a:rPr lang="fr-FR" smtClean="0"/>
              <a:t>12/11/2024</a:t>
            </a:fld>
            <a:endParaRPr lang="fr-FR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4E64FE0-3597-494D-885B-97386FF74333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96425284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B3373A-7926-40BB-B6DF-EC289891A864}" type="datetimeFigureOut">
              <a:rPr lang="fr-FR" smtClean="0"/>
              <a:t>12/11/2024</a:t>
            </a:fld>
            <a:endParaRPr lang="fr-F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4E64FE0-3597-494D-885B-97386FF74333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23750664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3887391" y="987426"/>
            <a:ext cx="462915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B3373A-7926-40BB-B6DF-EC289891A864}" type="datetimeFigureOut">
              <a:rPr lang="fr-FR" smtClean="0"/>
              <a:t>12/11/2024</a:t>
            </a:fld>
            <a:endParaRPr lang="fr-F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4E64FE0-3597-494D-885B-97386FF74333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34143168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2B3373A-7926-40BB-B6DF-EC289891A864}" type="datetimeFigureOut">
              <a:rPr lang="fr-FR" smtClean="0"/>
              <a:t>12/11/2024</a:t>
            </a:fld>
            <a:endParaRPr lang="fr-F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fr-F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4E64FE0-3597-494D-885B-97386FF74333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1794475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image" Target="../media/image1.jpeg"/><Relationship Id="rId7" Type="http://schemas.openxmlformats.org/officeDocument/2006/relationships/image" Target="../media/image5.sv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4.png"/><Relationship Id="rId5" Type="http://schemas.openxmlformats.org/officeDocument/2006/relationships/image" Target="../media/image3.svg"/><Relationship Id="rId10" Type="http://schemas.openxmlformats.org/officeDocument/2006/relationships/image" Target="../media/image8.png"/><Relationship Id="rId4" Type="http://schemas.openxmlformats.org/officeDocument/2006/relationships/image" Target="../media/image2.png"/><Relationship Id="rId9" Type="http://schemas.openxmlformats.org/officeDocument/2006/relationships/image" Target="../media/image7.svg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2.png"/><Relationship Id="rId3" Type="http://schemas.openxmlformats.org/officeDocument/2006/relationships/tags" Target="../tags/tag15.xml"/><Relationship Id="rId7" Type="http://schemas.openxmlformats.org/officeDocument/2006/relationships/image" Target="../media/image31.png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6" Type="http://schemas.openxmlformats.org/officeDocument/2006/relationships/image" Target="../media/image29.jpeg"/><Relationship Id="rId5" Type="http://schemas.openxmlformats.org/officeDocument/2006/relationships/image" Target="../media/image28.jpeg"/><Relationship Id="rId10" Type="http://schemas.openxmlformats.org/officeDocument/2006/relationships/image" Target="../media/image34.jpeg"/><Relationship Id="rId4" Type="http://schemas.openxmlformats.org/officeDocument/2006/relationships/slideLayout" Target="../slideLayouts/slideLayout1.xml"/><Relationship Id="rId9" Type="http://schemas.openxmlformats.org/officeDocument/2006/relationships/image" Target="../media/image33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jpeg"/><Relationship Id="rId2" Type="http://schemas.openxmlformats.org/officeDocument/2006/relationships/image" Target="../media/image28.jpe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35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jpeg"/><Relationship Id="rId2" Type="http://schemas.openxmlformats.org/officeDocument/2006/relationships/image" Target="../media/image28.jpe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36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jpeg"/><Relationship Id="rId2" Type="http://schemas.openxmlformats.org/officeDocument/2006/relationships/image" Target="../media/image28.jpe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37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jpeg"/><Relationship Id="rId2" Type="http://schemas.openxmlformats.org/officeDocument/2006/relationships/image" Target="../media/image28.jpe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38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jpeg"/><Relationship Id="rId2" Type="http://schemas.openxmlformats.org/officeDocument/2006/relationships/image" Target="../media/image28.jpe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39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jpeg"/><Relationship Id="rId2" Type="http://schemas.openxmlformats.org/officeDocument/2006/relationships/image" Target="../media/image28.jpe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39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jpeg"/><Relationship Id="rId2" Type="http://schemas.openxmlformats.org/officeDocument/2006/relationships/image" Target="../media/image28.jpe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40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jpeg"/><Relationship Id="rId2" Type="http://schemas.openxmlformats.org/officeDocument/2006/relationships/image" Target="../media/image28.jpe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41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7" Type="http://schemas.openxmlformats.org/officeDocument/2006/relationships/image" Target="../media/image42.png"/><Relationship Id="rId2" Type="http://schemas.openxmlformats.org/officeDocument/2006/relationships/image" Target="../media/image14.jpe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3.sv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image" Target="../media/image1.jpeg"/><Relationship Id="rId7" Type="http://schemas.openxmlformats.org/officeDocument/2006/relationships/image" Target="../media/image11.sv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.xml"/><Relationship Id="rId6" Type="http://schemas.openxmlformats.org/officeDocument/2006/relationships/image" Target="../media/image10.png"/><Relationship Id="rId11" Type="http://schemas.openxmlformats.org/officeDocument/2006/relationships/image" Target="../media/image3.svg"/><Relationship Id="rId5" Type="http://schemas.openxmlformats.org/officeDocument/2006/relationships/image" Target="../media/image9.emf"/><Relationship Id="rId10" Type="http://schemas.openxmlformats.org/officeDocument/2006/relationships/image" Target="../media/image2.png"/><Relationship Id="rId4" Type="http://schemas.openxmlformats.org/officeDocument/2006/relationships/oleObject" Target="../embeddings/oleObject1.bin"/><Relationship Id="rId9" Type="http://schemas.openxmlformats.org/officeDocument/2006/relationships/image" Target="../media/image13.sv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jpe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6.xml"/><Relationship Id="rId6" Type="http://schemas.openxmlformats.org/officeDocument/2006/relationships/image" Target="../media/image45.png"/><Relationship Id="rId5" Type="http://schemas.openxmlformats.org/officeDocument/2006/relationships/image" Target="../media/image44.png"/><Relationship Id="rId4" Type="http://schemas.openxmlformats.org/officeDocument/2006/relationships/image" Target="../media/image43.jpe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jpeg"/><Relationship Id="rId7" Type="http://schemas.openxmlformats.org/officeDocument/2006/relationships/image" Target="../media/image46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7.xml"/><Relationship Id="rId6" Type="http://schemas.openxmlformats.org/officeDocument/2006/relationships/image" Target="../media/image45.png"/><Relationship Id="rId5" Type="http://schemas.openxmlformats.org/officeDocument/2006/relationships/image" Target="../media/image44.png"/><Relationship Id="rId4" Type="http://schemas.openxmlformats.org/officeDocument/2006/relationships/image" Target="../media/image43.jpe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jpe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8.xml"/><Relationship Id="rId6" Type="http://schemas.openxmlformats.org/officeDocument/2006/relationships/image" Target="../media/image47.png"/><Relationship Id="rId5" Type="http://schemas.openxmlformats.org/officeDocument/2006/relationships/image" Target="../media/image44.png"/><Relationship Id="rId4" Type="http://schemas.openxmlformats.org/officeDocument/2006/relationships/image" Target="../media/image43.jpe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jpeg"/><Relationship Id="rId2" Type="http://schemas.openxmlformats.org/officeDocument/2006/relationships/image" Target="../media/image28.jpeg"/><Relationship Id="rId1" Type="http://schemas.openxmlformats.org/officeDocument/2006/relationships/slideLayout" Target="../slideLayouts/slideLayout1.xml"/><Relationship Id="rId6" Type="http://schemas.microsoft.com/office/2007/relationships/hdphoto" Target="../media/hdphoto2.wdp"/><Relationship Id="rId5" Type="http://schemas.openxmlformats.org/officeDocument/2006/relationships/image" Target="../media/image48.png"/><Relationship Id="rId4" Type="http://schemas.openxmlformats.org/officeDocument/2006/relationships/image" Target="../media/image47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jpeg"/><Relationship Id="rId2" Type="http://schemas.openxmlformats.org/officeDocument/2006/relationships/image" Target="../media/image28.jpe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47.png"/><Relationship Id="rId4" Type="http://schemas.openxmlformats.org/officeDocument/2006/relationships/image" Target="../media/image49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jpe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9.xml"/><Relationship Id="rId5" Type="http://schemas.openxmlformats.org/officeDocument/2006/relationships/image" Target="../media/image50.png"/><Relationship Id="rId4" Type="http://schemas.openxmlformats.org/officeDocument/2006/relationships/image" Target="../media/image44.pn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jpe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0.xml"/><Relationship Id="rId6" Type="http://schemas.openxmlformats.org/officeDocument/2006/relationships/image" Target="../media/image46.png"/><Relationship Id="rId5" Type="http://schemas.openxmlformats.org/officeDocument/2006/relationships/image" Target="../media/image50.png"/><Relationship Id="rId4" Type="http://schemas.openxmlformats.org/officeDocument/2006/relationships/image" Target="../media/image44.pn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jpe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1.xml"/><Relationship Id="rId5" Type="http://schemas.openxmlformats.org/officeDocument/2006/relationships/image" Target="../media/image44.png"/><Relationship Id="rId4" Type="http://schemas.openxmlformats.org/officeDocument/2006/relationships/image" Target="../media/image51.pn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image" Target="../media/image43.jpe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51.png"/><Relationship Id="rId4" Type="http://schemas.microsoft.com/office/2007/relationships/hdphoto" Target="../media/hdphoto2.wdp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image" Target="../media/image43.jpe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51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tags" Target="../tags/tag9.xml"/><Relationship Id="rId13" Type="http://schemas.openxmlformats.org/officeDocument/2006/relationships/image" Target="../media/image15.png"/><Relationship Id="rId3" Type="http://schemas.openxmlformats.org/officeDocument/2006/relationships/tags" Target="../tags/tag4.xml"/><Relationship Id="rId7" Type="http://schemas.openxmlformats.org/officeDocument/2006/relationships/tags" Target="../tags/tag8.xml"/><Relationship Id="rId12" Type="http://schemas.openxmlformats.org/officeDocument/2006/relationships/image" Target="../media/image11.svg"/><Relationship Id="rId2" Type="http://schemas.openxmlformats.org/officeDocument/2006/relationships/tags" Target="../tags/tag3.xml"/><Relationship Id="rId16" Type="http://schemas.openxmlformats.org/officeDocument/2006/relationships/image" Target="../media/image18.jpg"/><Relationship Id="rId1" Type="http://schemas.openxmlformats.org/officeDocument/2006/relationships/tags" Target="../tags/tag2.xml"/><Relationship Id="rId6" Type="http://schemas.openxmlformats.org/officeDocument/2006/relationships/tags" Target="../tags/tag7.xml"/><Relationship Id="rId11" Type="http://schemas.openxmlformats.org/officeDocument/2006/relationships/image" Target="../media/image10.png"/><Relationship Id="rId5" Type="http://schemas.openxmlformats.org/officeDocument/2006/relationships/tags" Target="../tags/tag6.xml"/><Relationship Id="rId15" Type="http://schemas.openxmlformats.org/officeDocument/2006/relationships/image" Target="../media/image17.png"/><Relationship Id="rId10" Type="http://schemas.openxmlformats.org/officeDocument/2006/relationships/image" Target="../media/image14.jpeg"/><Relationship Id="rId4" Type="http://schemas.openxmlformats.org/officeDocument/2006/relationships/tags" Target="../tags/tag5.xml"/><Relationship Id="rId9" Type="http://schemas.openxmlformats.org/officeDocument/2006/relationships/slideLayout" Target="../slideLayouts/slideLayout7.xml"/><Relationship Id="rId14" Type="http://schemas.openxmlformats.org/officeDocument/2006/relationships/image" Target="../media/image16.png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jpe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2.xml"/><Relationship Id="rId5" Type="http://schemas.openxmlformats.org/officeDocument/2006/relationships/image" Target="../media/image52.png"/><Relationship Id="rId4" Type="http://schemas.openxmlformats.org/officeDocument/2006/relationships/image" Target="../media/image44.png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jpe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3.xml"/><Relationship Id="rId5" Type="http://schemas.openxmlformats.org/officeDocument/2006/relationships/image" Target="../media/image52.png"/><Relationship Id="rId4" Type="http://schemas.openxmlformats.org/officeDocument/2006/relationships/image" Target="../media/image44.png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jpe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4.xml"/><Relationship Id="rId6" Type="http://schemas.openxmlformats.org/officeDocument/2006/relationships/image" Target="../media/image53.png"/><Relationship Id="rId5" Type="http://schemas.openxmlformats.org/officeDocument/2006/relationships/image" Target="../media/image52.png"/><Relationship Id="rId4" Type="http://schemas.openxmlformats.org/officeDocument/2006/relationships/image" Target="../media/image44.png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jpe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5.xml"/><Relationship Id="rId5" Type="http://schemas.openxmlformats.org/officeDocument/2006/relationships/image" Target="../media/image44.png"/><Relationship Id="rId4" Type="http://schemas.openxmlformats.org/officeDocument/2006/relationships/image" Target="../media/image54.png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image" Target="../media/image43.jpe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54.png"/><Relationship Id="rId4" Type="http://schemas.microsoft.com/office/2007/relationships/hdphoto" Target="../media/hdphoto2.wdp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image" Target="../media/image43.jpe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54.png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jpe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6.xml"/><Relationship Id="rId5" Type="http://schemas.openxmlformats.org/officeDocument/2006/relationships/image" Target="../media/image44.png"/><Relationship Id="rId4" Type="http://schemas.openxmlformats.org/officeDocument/2006/relationships/image" Target="../media/image55.png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jpe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7.xml"/><Relationship Id="rId5" Type="http://schemas.openxmlformats.org/officeDocument/2006/relationships/image" Target="../media/image55.png"/><Relationship Id="rId4" Type="http://schemas.openxmlformats.org/officeDocument/2006/relationships/image" Target="../media/image44.png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image" Target="../media/image43.jpe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56.png"/><Relationship Id="rId4" Type="http://schemas.microsoft.com/office/2007/relationships/hdphoto" Target="../media/hdphoto2.wdp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image" Target="../media/image43.jpe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56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7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jpe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8.xml"/><Relationship Id="rId5" Type="http://schemas.openxmlformats.org/officeDocument/2006/relationships/image" Target="../media/image57.png"/><Relationship Id="rId4" Type="http://schemas.openxmlformats.org/officeDocument/2006/relationships/image" Target="../media/image44.png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jpe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9.xml"/><Relationship Id="rId5" Type="http://schemas.openxmlformats.org/officeDocument/2006/relationships/image" Target="../media/image57.png"/><Relationship Id="rId4" Type="http://schemas.openxmlformats.org/officeDocument/2006/relationships/image" Target="../media/image44.png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image" Target="../media/image43.jpe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58.png"/><Relationship Id="rId4" Type="http://schemas.microsoft.com/office/2007/relationships/hdphoto" Target="../media/hdphoto2.wdp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image" Target="../media/image43.jpe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58.png"/><Relationship Id="rId4" Type="http://schemas.microsoft.com/office/2007/relationships/hdphoto" Target="../media/hdphoto2.wdp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image" Target="../media/image43.jpe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58.png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image" Target="../media/image43.jpe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58.png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image" Target="../media/image43.jpe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58.png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image" Target="../media/image43.jpe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58.png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4.jpe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3.svg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jpeg"/><Relationship Id="rId2" Type="http://schemas.openxmlformats.org/officeDocument/2006/relationships/image" Target="../media/image28.jpe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61.png"/><Relationship Id="rId4" Type="http://schemas.openxmlformats.org/officeDocument/2006/relationships/image" Target="../media/image60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4.jpe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3.svg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62.jpeg"/><Relationship Id="rId4" Type="http://schemas.openxmlformats.org/officeDocument/2006/relationships/image" Target="../media/image59.jpe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svg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10.png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image" Target="../media/image14.jpeg"/><Relationship Id="rId5" Type="http://schemas.openxmlformats.org/officeDocument/2006/relationships/image" Target="../media/image9.emf"/><Relationship Id="rId10" Type="http://schemas.openxmlformats.org/officeDocument/2006/relationships/oleObject" Target="../embeddings/oleObject3.bin"/><Relationship Id="rId4" Type="http://schemas.openxmlformats.org/officeDocument/2006/relationships/oleObject" Target="../embeddings/oleObject2.bin"/><Relationship Id="rId9" Type="http://schemas.openxmlformats.org/officeDocument/2006/relationships/image" Target="../media/image20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png"/><Relationship Id="rId3" Type="http://schemas.openxmlformats.org/officeDocument/2006/relationships/oleObject" Target="../embeddings/oleObject4.bin"/><Relationship Id="rId7" Type="http://schemas.openxmlformats.org/officeDocument/2006/relationships/image" Target="../media/image21.svg"/><Relationship Id="rId12" Type="http://schemas.openxmlformats.org/officeDocument/2006/relationships/image" Target="../media/image26.pn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.xml"/><Relationship Id="rId6" Type="http://schemas.openxmlformats.org/officeDocument/2006/relationships/image" Target="../media/image10.png"/><Relationship Id="rId11" Type="http://schemas.openxmlformats.org/officeDocument/2006/relationships/image" Target="../media/image25.png"/><Relationship Id="rId5" Type="http://schemas.openxmlformats.org/officeDocument/2006/relationships/image" Target="../media/image14.jpeg"/><Relationship Id="rId10" Type="http://schemas.openxmlformats.org/officeDocument/2006/relationships/image" Target="../media/image24.png"/><Relationship Id="rId4" Type="http://schemas.openxmlformats.org/officeDocument/2006/relationships/image" Target="../media/image9.emf"/><Relationship Id="rId9" Type="http://schemas.openxmlformats.org/officeDocument/2006/relationships/image" Target="../media/image23.svg"/></Relationships>
</file>

<file path=ppt/slides/_rels/slide8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image" Target="../media/image2.png"/><Relationship Id="rId7" Type="http://schemas.openxmlformats.org/officeDocument/2006/relationships/image" Target="../media/image27.png"/><Relationship Id="rId2" Type="http://schemas.openxmlformats.org/officeDocument/2006/relationships/image" Target="../media/image14.jpe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3.sv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jpeg"/><Relationship Id="rId2" Type="http://schemas.openxmlformats.org/officeDocument/2006/relationships/image" Target="../media/image28.jpe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30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 2">
            <a:extLst>
              <a:ext uri="{FF2B5EF4-FFF2-40B4-BE49-F238E27FC236}">
                <a16:creationId xmlns:a16="http://schemas.microsoft.com/office/drawing/2014/main" id="{316E4EE6-5FAC-D959-07DF-97F11297B41A}"/>
              </a:ext>
            </a:extLst>
          </p:cNvPr>
          <p:cNvPicPr/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2" name="Freeform 2"/>
          <p:cNvSpPr/>
          <p:nvPr/>
        </p:nvSpPr>
        <p:spPr>
          <a:xfrm>
            <a:off x="0" y="5198816"/>
            <a:ext cx="1342175" cy="1663803"/>
          </a:xfrm>
          <a:custGeom>
            <a:avLst/>
            <a:gdLst/>
            <a:ahLst/>
            <a:cxnLst/>
            <a:rect l="l" t="t" r="r" b="b"/>
            <a:pathLst>
              <a:path w="2684349" h="3327606">
                <a:moveTo>
                  <a:pt x="0" y="0"/>
                </a:moveTo>
                <a:lnTo>
                  <a:pt x="2684349" y="0"/>
                </a:lnTo>
                <a:lnTo>
                  <a:pt x="2684349" y="3327606"/>
                </a:lnTo>
                <a:lnTo>
                  <a:pt x="0" y="3327606"/>
                </a:lnTo>
                <a:lnTo>
                  <a:pt x="0" y="0"/>
                </a:lnTo>
                <a:close/>
              </a:path>
            </a:pathLst>
          </a:custGeom>
          <a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 l="-157570" t="-6438" b="-44673"/>
            </a:stretch>
          </a:blipFill>
          <a:ln>
            <a:noFill/>
          </a:ln>
        </p:spPr>
        <p:txBody>
          <a:bodyPr/>
          <a:lstStyle/>
          <a:p>
            <a:pPr defTabSz="609630">
              <a:defRPr/>
            </a:pPr>
            <a:endParaRPr lang="fr-MA" sz="900">
              <a:solidFill>
                <a:prstClr val="black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" name="Freeform 4"/>
          <p:cNvSpPr/>
          <p:nvPr/>
        </p:nvSpPr>
        <p:spPr>
          <a:xfrm>
            <a:off x="7365784" y="5005471"/>
            <a:ext cx="1778216" cy="1877929"/>
          </a:xfrm>
          <a:custGeom>
            <a:avLst/>
            <a:gdLst/>
            <a:ahLst/>
            <a:cxnLst/>
            <a:rect l="l" t="t" r="r" b="b"/>
            <a:pathLst>
              <a:path w="3556432" h="3755858">
                <a:moveTo>
                  <a:pt x="0" y="0"/>
                </a:moveTo>
                <a:lnTo>
                  <a:pt x="3556432" y="0"/>
                </a:lnTo>
                <a:lnTo>
                  <a:pt x="3556432" y="3755858"/>
                </a:lnTo>
                <a:lnTo>
                  <a:pt x="0" y="3755858"/>
                </a:lnTo>
                <a:lnTo>
                  <a:pt x="0" y="0"/>
                </a:lnTo>
                <a:close/>
              </a:path>
            </a:pathLst>
          </a:custGeom>
          <a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 l="-4351" t="-332" r="-93446" b="-41558"/>
            </a:stretch>
          </a:blipFill>
        </p:spPr>
        <p:txBody>
          <a:bodyPr/>
          <a:lstStyle/>
          <a:p>
            <a:pPr defTabSz="609630">
              <a:defRPr/>
            </a:pPr>
            <a:endParaRPr lang="fr-MA" sz="900">
              <a:solidFill>
                <a:prstClr val="black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9" name="TextBox 7">
            <a:extLst>
              <a:ext uri="{FF2B5EF4-FFF2-40B4-BE49-F238E27FC236}">
                <a16:creationId xmlns:a16="http://schemas.microsoft.com/office/drawing/2014/main" id="{45B0A1E8-F2BA-31DC-A793-BDED4E478A5A}"/>
              </a:ext>
            </a:extLst>
          </p:cNvPr>
          <p:cNvSpPr txBox="1"/>
          <p:nvPr/>
        </p:nvSpPr>
        <p:spPr>
          <a:xfrm>
            <a:off x="2250948" y="5073967"/>
            <a:ext cx="4642105" cy="410433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 defTabSz="609630" rtl="1">
              <a:defRPr/>
            </a:pPr>
            <a:r>
              <a:rPr lang="ar-MA" sz="2667" b="1" kern="0">
                <a:solidFill>
                  <a:prstClr val="white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المرحلة 1</a:t>
            </a:r>
            <a:endParaRPr lang="fr-MA" sz="2667" b="1" kern="0">
              <a:solidFill>
                <a:prstClr val="white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" name="Freeform 7">
            <a:extLst>
              <a:ext uri="{FF2B5EF4-FFF2-40B4-BE49-F238E27FC236}">
                <a16:creationId xmlns:a16="http://schemas.microsoft.com/office/drawing/2014/main" id="{28FAC4EF-0195-F11C-59A9-D01C957E9116}"/>
              </a:ext>
            </a:extLst>
          </p:cNvPr>
          <p:cNvSpPr/>
          <p:nvPr/>
        </p:nvSpPr>
        <p:spPr>
          <a:xfrm>
            <a:off x="6971239" y="1201614"/>
            <a:ext cx="1488271" cy="1588259"/>
          </a:xfrm>
          <a:custGeom>
            <a:avLst/>
            <a:gdLst/>
            <a:ahLst/>
            <a:cxnLst/>
            <a:rect l="l" t="t" r="r" b="b"/>
            <a:pathLst>
              <a:path w="1446572" h="1650653">
                <a:moveTo>
                  <a:pt x="0" y="0"/>
                </a:moveTo>
                <a:lnTo>
                  <a:pt x="1446572" y="0"/>
                </a:lnTo>
                <a:lnTo>
                  <a:pt x="1446572" y="1650653"/>
                </a:lnTo>
                <a:lnTo>
                  <a:pt x="0" y="1650653"/>
                </a:lnTo>
                <a:lnTo>
                  <a:pt x="0" y="0"/>
                </a:lnTo>
                <a:close/>
              </a:path>
            </a:pathLst>
          </a:custGeom>
          <a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a:blip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pPr marL="0" marR="0" lvl="0" indent="0" algn="l" defTabSz="6096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9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A74B9807-F39C-9CBB-DAEA-3ECF9732CB6E}"/>
              </a:ext>
            </a:extLst>
          </p:cNvPr>
          <p:cNvSpPr txBox="1"/>
          <p:nvPr/>
        </p:nvSpPr>
        <p:spPr>
          <a:xfrm>
            <a:off x="6796058" y="1671862"/>
            <a:ext cx="1838633" cy="436017"/>
          </a:xfrm>
          <a:prstGeom prst="rect">
            <a:avLst/>
          </a:prstGeom>
          <a:ln>
            <a:noFill/>
          </a:ln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ctr" defTabSz="609630" rtl="0" eaLnBrk="1" fontAlgn="auto" latinLnBrk="0" hangingPunct="1">
              <a:lnSpc>
                <a:spcPts val="3426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3200" b="1" i="0" u="none" strike="noStrike" kern="0" cap="none" spc="0" normalizeH="0" baseline="0" noProof="0" dirty="0">
                <a:ln>
                  <a:noFill/>
                </a:ln>
                <a:solidFill>
                  <a:srgbClr val="4BACC6">
                    <a:lumMod val="50000"/>
                  </a:srgb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المستوى</a:t>
            </a:r>
            <a:endParaRPr kumimoji="0" lang="en-US" sz="3200" b="1" i="0" u="none" strike="noStrike" kern="0" cap="none" spc="0" normalizeH="0" baseline="0" noProof="0" dirty="0">
              <a:ln>
                <a:noFill/>
              </a:ln>
              <a:solidFill>
                <a:srgbClr val="4BACC6">
                  <a:lumMod val="50000"/>
                </a:srgbClr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13" name="ZoneTexte 12">
            <a:extLst>
              <a:ext uri="{FF2B5EF4-FFF2-40B4-BE49-F238E27FC236}">
                <a16:creationId xmlns:a16="http://schemas.microsoft.com/office/drawing/2014/main" id="{62166C54-286D-1A8E-39B4-57843635F782}"/>
              </a:ext>
            </a:extLst>
          </p:cNvPr>
          <p:cNvSpPr txBox="1"/>
          <p:nvPr/>
        </p:nvSpPr>
        <p:spPr>
          <a:xfrm>
            <a:off x="7264400" y="2102247"/>
            <a:ext cx="914400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6096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3600" b="1" i="0" u="none" strike="noStrike" kern="1200" cap="none" spc="0" normalizeH="0" baseline="0" noProof="0" dirty="0">
                <a:ln>
                  <a:noFill/>
                </a:ln>
                <a:solidFill>
                  <a:srgbClr val="FCBF18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1</a:t>
            </a:r>
            <a:endParaRPr kumimoji="0" lang="fr-MA" sz="3600" b="1" i="0" u="none" strike="noStrike" kern="1200" cap="none" spc="0" normalizeH="0" baseline="0" noProof="0" dirty="0">
              <a:ln>
                <a:noFill/>
              </a:ln>
              <a:solidFill>
                <a:srgbClr val="FCBF18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14" name="TextBox 7">
            <a:extLst>
              <a:ext uri="{FF2B5EF4-FFF2-40B4-BE49-F238E27FC236}">
                <a16:creationId xmlns:a16="http://schemas.microsoft.com/office/drawing/2014/main" id="{B55E736C-F490-2EF9-2BD4-B1E6C0ACC055}"/>
              </a:ext>
            </a:extLst>
          </p:cNvPr>
          <p:cNvSpPr txBox="1"/>
          <p:nvPr/>
        </p:nvSpPr>
        <p:spPr>
          <a:xfrm>
            <a:off x="2285747" y="5073967"/>
            <a:ext cx="4642105" cy="410433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marL="0" marR="0" lvl="0" indent="0" algn="ctr" defTabSz="60963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2667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المرحلة 1</a:t>
            </a:r>
            <a:endParaRPr kumimoji="0" lang="fr-MA" sz="2667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pic>
        <p:nvPicPr>
          <p:cNvPr id="15" name="Picture 2" descr="الصفحة الرئيسية">
            <a:extLst>
              <a:ext uri="{FF2B5EF4-FFF2-40B4-BE49-F238E27FC236}">
                <a16:creationId xmlns:a16="http://schemas.microsoft.com/office/drawing/2014/main" id="{0CE446C7-1A2A-1B03-369C-CD46307E55C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53953" y="270881"/>
            <a:ext cx="4642105" cy="7039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TextBox 3">
            <a:extLst>
              <a:ext uri="{FF2B5EF4-FFF2-40B4-BE49-F238E27FC236}">
                <a16:creationId xmlns:a16="http://schemas.microsoft.com/office/drawing/2014/main" id="{4A815909-2A4C-1178-F971-508B932A2579}"/>
              </a:ext>
            </a:extLst>
          </p:cNvPr>
          <p:cNvSpPr txBox="1"/>
          <p:nvPr/>
        </p:nvSpPr>
        <p:spPr>
          <a:xfrm>
            <a:off x="2068302" y="1852212"/>
            <a:ext cx="4642105" cy="698781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marL="0" marR="0" lvl="0" indent="0" algn="ctr" defTabSz="609630" rtl="0" eaLnBrk="1" fontAlgn="auto" latinLnBrk="0" hangingPunct="1">
              <a:lnSpc>
                <a:spcPts val="5246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6000" b="1" i="0" u="none" strike="noStrike" kern="0" cap="none" spc="0" normalizeH="0" baseline="0" noProof="0" dirty="0">
                <a:ln>
                  <a:noFill/>
                </a:ln>
                <a:solidFill>
                  <a:srgbClr val="4BACC6">
                    <a:lumMod val="50000"/>
                  </a:srgb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الرياضيات</a:t>
            </a:r>
            <a:endParaRPr kumimoji="0" lang="en-US" sz="6000" b="1" i="0" u="none" strike="noStrike" kern="0" cap="none" spc="0" normalizeH="0" baseline="0" noProof="0" dirty="0">
              <a:ln>
                <a:noFill/>
              </a:ln>
              <a:solidFill>
                <a:srgbClr val="4BACC6">
                  <a:lumMod val="50000"/>
                </a:srgbClr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17" name="ZoneTexte 4">
            <a:extLst>
              <a:ext uri="{FF2B5EF4-FFF2-40B4-BE49-F238E27FC236}">
                <a16:creationId xmlns:a16="http://schemas.microsoft.com/office/drawing/2014/main" id="{8F9B8CD2-6BCC-6294-7C9D-65F6E1545EFB}"/>
              </a:ext>
            </a:extLst>
          </p:cNvPr>
          <p:cNvSpPr txBox="1"/>
          <p:nvPr/>
        </p:nvSpPr>
        <p:spPr>
          <a:xfrm>
            <a:off x="2631441" y="6092366"/>
            <a:ext cx="4023359" cy="5025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6096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1333" b="1" i="0" u="none" strike="noStrike" kern="0" cap="none" spc="0" normalizeH="0" baseline="0" noProof="0" dirty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نسخة تجريبية موجهة لمؤسسات الريادة</a:t>
            </a:r>
          </a:p>
          <a:p>
            <a:pPr marL="0" marR="0" lvl="0" indent="0" algn="ctr" defTabSz="6096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1333" b="1" i="0" u="none" strike="noStrike" kern="0" cap="none" spc="0" normalizeH="0" baseline="0" noProof="0" dirty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نسخة قيد التطوير</a:t>
            </a:r>
          </a:p>
        </p:txBody>
      </p:sp>
      <p:sp>
        <p:nvSpPr>
          <p:cNvPr id="19" name="TextBox 2">
            <a:extLst>
              <a:ext uri="{FF2B5EF4-FFF2-40B4-BE49-F238E27FC236}">
                <a16:creationId xmlns:a16="http://schemas.microsoft.com/office/drawing/2014/main" id="{01830A1B-7C91-19D3-13F4-8B743F4BB460}"/>
              </a:ext>
            </a:extLst>
          </p:cNvPr>
          <p:cNvSpPr txBox="1"/>
          <p:nvPr/>
        </p:nvSpPr>
        <p:spPr>
          <a:xfrm>
            <a:off x="466622" y="3075370"/>
            <a:ext cx="7992888" cy="512000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457200" rtl="1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lang="ar-MA" sz="2667" b="1" kern="0" dirty="0">
                <a:solidFill>
                  <a:srgbClr val="106585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مراجعة دروس الأسبوع الأول</a:t>
            </a:r>
            <a:endParaRPr kumimoji="0" lang="fr-FR" sz="2665" b="1" i="0" u="none" strike="noStrike" kern="0" cap="none" spc="0" normalizeH="0" baseline="0" noProof="0" dirty="0">
              <a:ln>
                <a:noFill/>
              </a:ln>
              <a:solidFill>
                <a:srgbClr val="106585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grpSp>
        <p:nvGrpSpPr>
          <p:cNvPr id="21" name="Groupe 3">
            <a:extLst>
              <a:ext uri="{FF2B5EF4-FFF2-40B4-BE49-F238E27FC236}">
                <a16:creationId xmlns:a16="http://schemas.microsoft.com/office/drawing/2014/main" id="{5EA82A9E-D928-9705-D35C-3296917CBBE6}"/>
              </a:ext>
            </a:extLst>
          </p:cNvPr>
          <p:cNvGrpSpPr/>
          <p:nvPr/>
        </p:nvGrpSpPr>
        <p:grpSpPr>
          <a:xfrm>
            <a:off x="3108111" y="4517342"/>
            <a:ext cx="2927777" cy="1417690"/>
            <a:chOff x="3093034" y="4654860"/>
            <a:chExt cx="2927777" cy="1417690"/>
          </a:xfrm>
        </p:grpSpPr>
        <p:grpSp>
          <p:nvGrpSpPr>
            <p:cNvPr id="22" name="Groupe 101">
              <a:extLst>
                <a:ext uri="{FF2B5EF4-FFF2-40B4-BE49-F238E27FC236}">
                  <a16:creationId xmlns:a16="http://schemas.microsoft.com/office/drawing/2014/main" id="{7F7EB676-0CAA-AA6D-EC0C-4E073D1CA9D3}"/>
                </a:ext>
              </a:extLst>
            </p:cNvPr>
            <p:cNvGrpSpPr/>
            <p:nvPr/>
          </p:nvGrpSpPr>
          <p:grpSpPr>
            <a:xfrm flipH="1">
              <a:off x="3123190" y="4654860"/>
              <a:ext cx="2897621" cy="1417690"/>
              <a:chOff x="2090564" y="4775947"/>
              <a:chExt cx="3201302" cy="1417690"/>
            </a:xfrm>
          </p:grpSpPr>
          <p:sp>
            <p:nvSpPr>
              <p:cNvPr id="25" name="Forme libre : forme 100">
                <a:extLst>
                  <a:ext uri="{FF2B5EF4-FFF2-40B4-BE49-F238E27FC236}">
                    <a16:creationId xmlns:a16="http://schemas.microsoft.com/office/drawing/2014/main" id="{EE0FA989-1A68-F9C3-82C4-BC6BAEB5A70B}"/>
                  </a:ext>
                </a:extLst>
              </p:cNvPr>
              <p:cNvSpPr/>
              <p:nvPr/>
            </p:nvSpPr>
            <p:spPr>
              <a:xfrm rot="21338648" flipV="1">
                <a:off x="2778467" y="5313022"/>
                <a:ext cx="2513399" cy="880615"/>
              </a:xfrm>
              <a:custGeom>
                <a:avLst/>
                <a:gdLst>
                  <a:gd name="connsiteX0" fmla="*/ 138545 w 2969491"/>
                  <a:gd name="connsiteY0" fmla="*/ 124691 h 651164"/>
                  <a:gd name="connsiteX1" fmla="*/ 2706255 w 2969491"/>
                  <a:gd name="connsiteY1" fmla="*/ 0 h 651164"/>
                  <a:gd name="connsiteX2" fmla="*/ 2890982 w 2969491"/>
                  <a:gd name="connsiteY2" fmla="*/ 78509 h 651164"/>
                  <a:gd name="connsiteX3" fmla="*/ 2969491 w 2969491"/>
                  <a:gd name="connsiteY3" fmla="*/ 258618 h 651164"/>
                  <a:gd name="connsiteX4" fmla="*/ 2872509 w 2969491"/>
                  <a:gd name="connsiteY4" fmla="*/ 378691 h 651164"/>
                  <a:gd name="connsiteX5" fmla="*/ 170873 w 2969491"/>
                  <a:gd name="connsiteY5" fmla="*/ 651164 h 651164"/>
                  <a:gd name="connsiteX6" fmla="*/ 9236 w 2969491"/>
                  <a:gd name="connsiteY6" fmla="*/ 531091 h 651164"/>
                  <a:gd name="connsiteX7" fmla="*/ 0 w 2969491"/>
                  <a:gd name="connsiteY7" fmla="*/ 207818 h 651164"/>
                  <a:gd name="connsiteX8" fmla="*/ 138545 w 2969491"/>
                  <a:gd name="connsiteY8" fmla="*/ 124691 h 651164"/>
                  <a:gd name="connsiteX0" fmla="*/ 138545 w 2969491"/>
                  <a:gd name="connsiteY0" fmla="*/ 124691 h 651164"/>
                  <a:gd name="connsiteX1" fmla="*/ 2706255 w 2969491"/>
                  <a:gd name="connsiteY1" fmla="*/ 0 h 651164"/>
                  <a:gd name="connsiteX2" fmla="*/ 2890982 w 2969491"/>
                  <a:gd name="connsiteY2" fmla="*/ 78509 h 651164"/>
                  <a:gd name="connsiteX3" fmla="*/ 2969491 w 2969491"/>
                  <a:gd name="connsiteY3" fmla="*/ 258618 h 651164"/>
                  <a:gd name="connsiteX4" fmla="*/ 2872509 w 2969491"/>
                  <a:gd name="connsiteY4" fmla="*/ 378691 h 651164"/>
                  <a:gd name="connsiteX5" fmla="*/ 170873 w 2969491"/>
                  <a:gd name="connsiteY5" fmla="*/ 651164 h 651164"/>
                  <a:gd name="connsiteX6" fmla="*/ 9236 w 2969491"/>
                  <a:gd name="connsiteY6" fmla="*/ 531091 h 651164"/>
                  <a:gd name="connsiteX7" fmla="*/ 0 w 2969491"/>
                  <a:gd name="connsiteY7" fmla="*/ 207818 h 651164"/>
                  <a:gd name="connsiteX8" fmla="*/ 138545 w 2969491"/>
                  <a:gd name="connsiteY8" fmla="*/ 124691 h 651164"/>
                  <a:gd name="connsiteX0" fmla="*/ 138545 w 2969491"/>
                  <a:gd name="connsiteY0" fmla="*/ 124691 h 651164"/>
                  <a:gd name="connsiteX1" fmla="*/ 2706255 w 2969491"/>
                  <a:gd name="connsiteY1" fmla="*/ 0 h 651164"/>
                  <a:gd name="connsiteX2" fmla="*/ 2890982 w 2969491"/>
                  <a:gd name="connsiteY2" fmla="*/ 78509 h 651164"/>
                  <a:gd name="connsiteX3" fmla="*/ 2969491 w 2969491"/>
                  <a:gd name="connsiteY3" fmla="*/ 258618 h 651164"/>
                  <a:gd name="connsiteX4" fmla="*/ 2872509 w 2969491"/>
                  <a:gd name="connsiteY4" fmla="*/ 378691 h 651164"/>
                  <a:gd name="connsiteX5" fmla="*/ 170873 w 2969491"/>
                  <a:gd name="connsiteY5" fmla="*/ 651164 h 651164"/>
                  <a:gd name="connsiteX6" fmla="*/ 9236 w 2969491"/>
                  <a:gd name="connsiteY6" fmla="*/ 531091 h 651164"/>
                  <a:gd name="connsiteX7" fmla="*/ 0 w 2969491"/>
                  <a:gd name="connsiteY7" fmla="*/ 207818 h 651164"/>
                  <a:gd name="connsiteX8" fmla="*/ 138545 w 2969491"/>
                  <a:gd name="connsiteY8" fmla="*/ 124691 h 651164"/>
                  <a:gd name="connsiteX0" fmla="*/ 138545 w 2969491"/>
                  <a:gd name="connsiteY0" fmla="*/ 124691 h 651164"/>
                  <a:gd name="connsiteX1" fmla="*/ 2706255 w 2969491"/>
                  <a:gd name="connsiteY1" fmla="*/ 0 h 651164"/>
                  <a:gd name="connsiteX2" fmla="*/ 2890982 w 2969491"/>
                  <a:gd name="connsiteY2" fmla="*/ 78509 h 651164"/>
                  <a:gd name="connsiteX3" fmla="*/ 2969491 w 2969491"/>
                  <a:gd name="connsiteY3" fmla="*/ 258618 h 651164"/>
                  <a:gd name="connsiteX4" fmla="*/ 2872509 w 2969491"/>
                  <a:gd name="connsiteY4" fmla="*/ 378691 h 651164"/>
                  <a:gd name="connsiteX5" fmla="*/ 170873 w 2969491"/>
                  <a:gd name="connsiteY5" fmla="*/ 651164 h 651164"/>
                  <a:gd name="connsiteX6" fmla="*/ 9236 w 2969491"/>
                  <a:gd name="connsiteY6" fmla="*/ 531091 h 651164"/>
                  <a:gd name="connsiteX7" fmla="*/ 0 w 2969491"/>
                  <a:gd name="connsiteY7" fmla="*/ 207818 h 651164"/>
                  <a:gd name="connsiteX8" fmla="*/ 138545 w 2969491"/>
                  <a:gd name="connsiteY8" fmla="*/ 124691 h 651164"/>
                  <a:gd name="connsiteX0" fmla="*/ 138545 w 2969491"/>
                  <a:gd name="connsiteY0" fmla="*/ 124691 h 656902"/>
                  <a:gd name="connsiteX1" fmla="*/ 2706255 w 2969491"/>
                  <a:gd name="connsiteY1" fmla="*/ 0 h 656902"/>
                  <a:gd name="connsiteX2" fmla="*/ 2890982 w 2969491"/>
                  <a:gd name="connsiteY2" fmla="*/ 78509 h 656902"/>
                  <a:gd name="connsiteX3" fmla="*/ 2969491 w 2969491"/>
                  <a:gd name="connsiteY3" fmla="*/ 258618 h 656902"/>
                  <a:gd name="connsiteX4" fmla="*/ 2872509 w 2969491"/>
                  <a:gd name="connsiteY4" fmla="*/ 378691 h 656902"/>
                  <a:gd name="connsiteX5" fmla="*/ 170873 w 2969491"/>
                  <a:gd name="connsiteY5" fmla="*/ 651164 h 656902"/>
                  <a:gd name="connsiteX6" fmla="*/ 9236 w 2969491"/>
                  <a:gd name="connsiteY6" fmla="*/ 531091 h 656902"/>
                  <a:gd name="connsiteX7" fmla="*/ 0 w 2969491"/>
                  <a:gd name="connsiteY7" fmla="*/ 207818 h 656902"/>
                  <a:gd name="connsiteX8" fmla="*/ 138545 w 2969491"/>
                  <a:gd name="connsiteY8" fmla="*/ 124691 h 656902"/>
                  <a:gd name="connsiteX0" fmla="*/ 138545 w 2969491"/>
                  <a:gd name="connsiteY0" fmla="*/ 124890 h 657101"/>
                  <a:gd name="connsiteX1" fmla="*/ 2706255 w 2969491"/>
                  <a:gd name="connsiteY1" fmla="*/ 199 h 657101"/>
                  <a:gd name="connsiteX2" fmla="*/ 2890982 w 2969491"/>
                  <a:gd name="connsiteY2" fmla="*/ 78708 h 657101"/>
                  <a:gd name="connsiteX3" fmla="*/ 2969491 w 2969491"/>
                  <a:gd name="connsiteY3" fmla="*/ 258817 h 657101"/>
                  <a:gd name="connsiteX4" fmla="*/ 2872509 w 2969491"/>
                  <a:gd name="connsiteY4" fmla="*/ 378890 h 657101"/>
                  <a:gd name="connsiteX5" fmla="*/ 170873 w 2969491"/>
                  <a:gd name="connsiteY5" fmla="*/ 651363 h 657101"/>
                  <a:gd name="connsiteX6" fmla="*/ 9236 w 2969491"/>
                  <a:gd name="connsiteY6" fmla="*/ 531290 h 657101"/>
                  <a:gd name="connsiteX7" fmla="*/ 0 w 2969491"/>
                  <a:gd name="connsiteY7" fmla="*/ 208017 h 657101"/>
                  <a:gd name="connsiteX8" fmla="*/ 138545 w 2969491"/>
                  <a:gd name="connsiteY8" fmla="*/ 124890 h 657101"/>
                  <a:gd name="connsiteX0" fmla="*/ 138545 w 2969491"/>
                  <a:gd name="connsiteY0" fmla="*/ 125008 h 657219"/>
                  <a:gd name="connsiteX1" fmla="*/ 2706255 w 2969491"/>
                  <a:gd name="connsiteY1" fmla="*/ 317 h 657219"/>
                  <a:gd name="connsiteX2" fmla="*/ 2890982 w 2969491"/>
                  <a:gd name="connsiteY2" fmla="*/ 78826 h 657219"/>
                  <a:gd name="connsiteX3" fmla="*/ 2969491 w 2969491"/>
                  <a:gd name="connsiteY3" fmla="*/ 258935 h 657219"/>
                  <a:gd name="connsiteX4" fmla="*/ 2872509 w 2969491"/>
                  <a:gd name="connsiteY4" fmla="*/ 379008 h 657219"/>
                  <a:gd name="connsiteX5" fmla="*/ 170873 w 2969491"/>
                  <a:gd name="connsiteY5" fmla="*/ 651481 h 657219"/>
                  <a:gd name="connsiteX6" fmla="*/ 9236 w 2969491"/>
                  <a:gd name="connsiteY6" fmla="*/ 531408 h 657219"/>
                  <a:gd name="connsiteX7" fmla="*/ 0 w 2969491"/>
                  <a:gd name="connsiteY7" fmla="*/ 208135 h 657219"/>
                  <a:gd name="connsiteX8" fmla="*/ 138545 w 2969491"/>
                  <a:gd name="connsiteY8" fmla="*/ 125008 h 657219"/>
                  <a:gd name="connsiteX0" fmla="*/ 138545 w 2972005"/>
                  <a:gd name="connsiteY0" fmla="*/ 125008 h 657219"/>
                  <a:gd name="connsiteX1" fmla="*/ 2706255 w 2972005"/>
                  <a:gd name="connsiteY1" fmla="*/ 317 h 657219"/>
                  <a:gd name="connsiteX2" fmla="*/ 2890982 w 2972005"/>
                  <a:gd name="connsiteY2" fmla="*/ 78826 h 657219"/>
                  <a:gd name="connsiteX3" fmla="*/ 2969491 w 2972005"/>
                  <a:gd name="connsiteY3" fmla="*/ 258935 h 657219"/>
                  <a:gd name="connsiteX4" fmla="*/ 2872509 w 2972005"/>
                  <a:gd name="connsiteY4" fmla="*/ 379008 h 657219"/>
                  <a:gd name="connsiteX5" fmla="*/ 170873 w 2972005"/>
                  <a:gd name="connsiteY5" fmla="*/ 651481 h 657219"/>
                  <a:gd name="connsiteX6" fmla="*/ 9236 w 2972005"/>
                  <a:gd name="connsiteY6" fmla="*/ 531408 h 657219"/>
                  <a:gd name="connsiteX7" fmla="*/ 0 w 2972005"/>
                  <a:gd name="connsiteY7" fmla="*/ 208135 h 657219"/>
                  <a:gd name="connsiteX8" fmla="*/ 138545 w 2972005"/>
                  <a:gd name="connsiteY8" fmla="*/ 125008 h 657219"/>
                  <a:gd name="connsiteX0" fmla="*/ 138545 w 2973912"/>
                  <a:gd name="connsiteY0" fmla="*/ 125008 h 657219"/>
                  <a:gd name="connsiteX1" fmla="*/ 2706255 w 2973912"/>
                  <a:gd name="connsiteY1" fmla="*/ 317 h 657219"/>
                  <a:gd name="connsiteX2" fmla="*/ 2890982 w 2973912"/>
                  <a:gd name="connsiteY2" fmla="*/ 78826 h 657219"/>
                  <a:gd name="connsiteX3" fmla="*/ 2969491 w 2973912"/>
                  <a:gd name="connsiteY3" fmla="*/ 258935 h 657219"/>
                  <a:gd name="connsiteX4" fmla="*/ 2872509 w 2973912"/>
                  <a:gd name="connsiteY4" fmla="*/ 379008 h 657219"/>
                  <a:gd name="connsiteX5" fmla="*/ 170873 w 2973912"/>
                  <a:gd name="connsiteY5" fmla="*/ 651481 h 657219"/>
                  <a:gd name="connsiteX6" fmla="*/ 9236 w 2973912"/>
                  <a:gd name="connsiteY6" fmla="*/ 531408 h 657219"/>
                  <a:gd name="connsiteX7" fmla="*/ 0 w 2973912"/>
                  <a:gd name="connsiteY7" fmla="*/ 208135 h 657219"/>
                  <a:gd name="connsiteX8" fmla="*/ 138545 w 2973912"/>
                  <a:gd name="connsiteY8" fmla="*/ 125008 h 6572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973912" h="657219">
                    <a:moveTo>
                      <a:pt x="138545" y="125008"/>
                    </a:moveTo>
                    <a:lnTo>
                      <a:pt x="2706255" y="317"/>
                    </a:lnTo>
                    <a:cubicBezTo>
                      <a:pt x="2828121" y="-3658"/>
                      <a:pt x="2867087" y="30047"/>
                      <a:pt x="2890982" y="78826"/>
                    </a:cubicBezTo>
                    <a:lnTo>
                      <a:pt x="2969491" y="258935"/>
                    </a:lnTo>
                    <a:cubicBezTo>
                      <a:pt x="2987406" y="336640"/>
                      <a:pt x="2950053" y="379178"/>
                      <a:pt x="2872509" y="379008"/>
                    </a:cubicBezTo>
                    <a:lnTo>
                      <a:pt x="170873" y="651481"/>
                    </a:lnTo>
                    <a:cubicBezTo>
                      <a:pt x="101922" y="666723"/>
                      <a:pt x="5337" y="659356"/>
                      <a:pt x="9236" y="531408"/>
                    </a:cubicBezTo>
                    <a:lnTo>
                      <a:pt x="0" y="208135"/>
                    </a:lnTo>
                    <a:cubicBezTo>
                      <a:pt x="26085" y="152793"/>
                      <a:pt x="37097" y="137645"/>
                      <a:pt x="138545" y="125008"/>
                    </a:cubicBezTo>
                    <a:close/>
                  </a:path>
                </a:pathLst>
              </a:custGeom>
              <a:solidFill>
                <a:srgbClr val="70B1B6"/>
              </a:solidFill>
              <a:ln w="1365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6" name="Forme libre : forme 99">
                <a:extLst>
                  <a:ext uri="{FF2B5EF4-FFF2-40B4-BE49-F238E27FC236}">
                    <a16:creationId xmlns:a16="http://schemas.microsoft.com/office/drawing/2014/main" id="{02C73B46-B178-E9D0-1D59-8BF7EFCE5B78}"/>
                  </a:ext>
                </a:extLst>
              </p:cNvPr>
              <p:cNvSpPr/>
              <p:nvPr/>
            </p:nvSpPr>
            <p:spPr>
              <a:xfrm rot="261352" flipH="1" flipV="1">
                <a:off x="2090564" y="4775947"/>
                <a:ext cx="2707398" cy="880615"/>
              </a:xfrm>
              <a:custGeom>
                <a:avLst/>
                <a:gdLst>
                  <a:gd name="connsiteX0" fmla="*/ 138545 w 2969491"/>
                  <a:gd name="connsiteY0" fmla="*/ 124691 h 651164"/>
                  <a:gd name="connsiteX1" fmla="*/ 2706255 w 2969491"/>
                  <a:gd name="connsiteY1" fmla="*/ 0 h 651164"/>
                  <a:gd name="connsiteX2" fmla="*/ 2890982 w 2969491"/>
                  <a:gd name="connsiteY2" fmla="*/ 78509 h 651164"/>
                  <a:gd name="connsiteX3" fmla="*/ 2969491 w 2969491"/>
                  <a:gd name="connsiteY3" fmla="*/ 258618 h 651164"/>
                  <a:gd name="connsiteX4" fmla="*/ 2872509 w 2969491"/>
                  <a:gd name="connsiteY4" fmla="*/ 378691 h 651164"/>
                  <a:gd name="connsiteX5" fmla="*/ 170873 w 2969491"/>
                  <a:gd name="connsiteY5" fmla="*/ 651164 h 651164"/>
                  <a:gd name="connsiteX6" fmla="*/ 9236 w 2969491"/>
                  <a:gd name="connsiteY6" fmla="*/ 531091 h 651164"/>
                  <a:gd name="connsiteX7" fmla="*/ 0 w 2969491"/>
                  <a:gd name="connsiteY7" fmla="*/ 207818 h 651164"/>
                  <a:gd name="connsiteX8" fmla="*/ 138545 w 2969491"/>
                  <a:gd name="connsiteY8" fmla="*/ 124691 h 651164"/>
                  <a:gd name="connsiteX0" fmla="*/ 138545 w 2969491"/>
                  <a:gd name="connsiteY0" fmla="*/ 124691 h 651164"/>
                  <a:gd name="connsiteX1" fmla="*/ 2706255 w 2969491"/>
                  <a:gd name="connsiteY1" fmla="*/ 0 h 651164"/>
                  <a:gd name="connsiteX2" fmla="*/ 2890982 w 2969491"/>
                  <a:gd name="connsiteY2" fmla="*/ 78509 h 651164"/>
                  <a:gd name="connsiteX3" fmla="*/ 2969491 w 2969491"/>
                  <a:gd name="connsiteY3" fmla="*/ 258618 h 651164"/>
                  <a:gd name="connsiteX4" fmla="*/ 2872509 w 2969491"/>
                  <a:gd name="connsiteY4" fmla="*/ 378691 h 651164"/>
                  <a:gd name="connsiteX5" fmla="*/ 170873 w 2969491"/>
                  <a:gd name="connsiteY5" fmla="*/ 651164 h 651164"/>
                  <a:gd name="connsiteX6" fmla="*/ 9236 w 2969491"/>
                  <a:gd name="connsiteY6" fmla="*/ 531091 h 651164"/>
                  <a:gd name="connsiteX7" fmla="*/ 0 w 2969491"/>
                  <a:gd name="connsiteY7" fmla="*/ 207818 h 651164"/>
                  <a:gd name="connsiteX8" fmla="*/ 138545 w 2969491"/>
                  <a:gd name="connsiteY8" fmla="*/ 124691 h 651164"/>
                  <a:gd name="connsiteX0" fmla="*/ 138545 w 2969491"/>
                  <a:gd name="connsiteY0" fmla="*/ 124691 h 651164"/>
                  <a:gd name="connsiteX1" fmla="*/ 2706255 w 2969491"/>
                  <a:gd name="connsiteY1" fmla="*/ 0 h 651164"/>
                  <a:gd name="connsiteX2" fmla="*/ 2890982 w 2969491"/>
                  <a:gd name="connsiteY2" fmla="*/ 78509 h 651164"/>
                  <a:gd name="connsiteX3" fmla="*/ 2969491 w 2969491"/>
                  <a:gd name="connsiteY3" fmla="*/ 258618 h 651164"/>
                  <a:gd name="connsiteX4" fmla="*/ 2872509 w 2969491"/>
                  <a:gd name="connsiteY4" fmla="*/ 378691 h 651164"/>
                  <a:gd name="connsiteX5" fmla="*/ 170873 w 2969491"/>
                  <a:gd name="connsiteY5" fmla="*/ 651164 h 651164"/>
                  <a:gd name="connsiteX6" fmla="*/ 9236 w 2969491"/>
                  <a:gd name="connsiteY6" fmla="*/ 531091 h 651164"/>
                  <a:gd name="connsiteX7" fmla="*/ 0 w 2969491"/>
                  <a:gd name="connsiteY7" fmla="*/ 207818 h 651164"/>
                  <a:gd name="connsiteX8" fmla="*/ 138545 w 2969491"/>
                  <a:gd name="connsiteY8" fmla="*/ 124691 h 651164"/>
                  <a:gd name="connsiteX0" fmla="*/ 138545 w 2969491"/>
                  <a:gd name="connsiteY0" fmla="*/ 124691 h 651164"/>
                  <a:gd name="connsiteX1" fmla="*/ 2706255 w 2969491"/>
                  <a:gd name="connsiteY1" fmla="*/ 0 h 651164"/>
                  <a:gd name="connsiteX2" fmla="*/ 2890982 w 2969491"/>
                  <a:gd name="connsiteY2" fmla="*/ 78509 h 651164"/>
                  <a:gd name="connsiteX3" fmla="*/ 2969491 w 2969491"/>
                  <a:gd name="connsiteY3" fmla="*/ 258618 h 651164"/>
                  <a:gd name="connsiteX4" fmla="*/ 2872509 w 2969491"/>
                  <a:gd name="connsiteY4" fmla="*/ 378691 h 651164"/>
                  <a:gd name="connsiteX5" fmla="*/ 170873 w 2969491"/>
                  <a:gd name="connsiteY5" fmla="*/ 651164 h 651164"/>
                  <a:gd name="connsiteX6" fmla="*/ 9236 w 2969491"/>
                  <a:gd name="connsiteY6" fmla="*/ 531091 h 651164"/>
                  <a:gd name="connsiteX7" fmla="*/ 0 w 2969491"/>
                  <a:gd name="connsiteY7" fmla="*/ 207818 h 651164"/>
                  <a:gd name="connsiteX8" fmla="*/ 138545 w 2969491"/>
                  <a:gd name="connsiteY8" fmla="*/ 124691 h 651164"/>
                  <a:gd name="connsiteX0" fmla="*/ 138545 w 2969491"/>
                  <a:gd name="connsiteY0" fmla="*/ 124691 h 656902"/>
                  <a:gd name="connsiteX1" fmla="*/ 2706255 w 2969491"/>
                  <a:gd name="connsiteY1" fmla="*/ 0 h 656902"/>
                  <a:gd name="connsiteX2" fmla="*/ 2890982 w 2969491"/>
                  <a:gd name="connsiteY2" fmla="*/ 78509 h 656902"/>
                  <a:gd name="connsiteX3" fmla="*/ 2969491 w 2969491"/>
                  <a:gd name="connsiteY3" fmla="*/ 258618 h 656902"/>
                  <a:gd name="connsiteX4" fmla="*/ 2872509 w 2969491"/>
                  <a:gd name="connsiteY4" fmla="*/ 378691 h 656902"/>
                  <a:gd name="connsiteX5" fmla="*/ 170873 w 2969491"/>
                  <a:gd name="connsiteY5" fmla="*/ 651164 h 656902"/>
                  <a:gd name="connsiteX6" fmla="*/ 9236 w 2969491"/>
                  <a:gd name="connsiteY6" fmla="*/ 531091 h 656902"/>
                  <a:gd name="connsiteX7" fmla="*/ 0 w 2969491"/>
                  <a:gd name="connsiteY7" fmla="*/ 207818 h 656902"/>
                  <a:gd name="connsiteX8" fmla="*/ 138545 w 2969491"/>
                  <a:gd name="connsiteY8" fmla="*/ 124691 h 656902"/>
                  <a:gd name="connsiteX0" fmla="*/ 138545 w 2969491"/>
                  <a:gd name="connsiteY0" fmla="*/ 124890 h 657101"/>
                  <a:gd name="connsiteX1" fmla="*/ 2706255 w 2969491"/>
                  <a:gd name="connsiteY1" fmla="*/ 199 h 657101"/>
                  <a:gd name="connsiteX2" fmla="*/ 2890982 w 2969491"/>
                  <a:gd name="connsiteY2" fmla="*/ 78708 h 657101"/>
                  <a:gd name="connsiteX3" fmla="*/ 2969491 w 2969491"/>
                  <a:gd name="connsiteY3" fmla="*/ 258817 h 657101"/>
                  <a:gd name="connsiteX4" fmla="*/ 2872509 w 2969491"/>
                  <a:gd name="connsiteY4" fmla="*/ 378890 h 657101"/>
                  <a:gd name="connsiteX5" fmla="*/ 170873 w 2969491"/>
                  <a:gd name="connsiteY5" fmla="*/ 651363 h 657101"/>
                  <a:gd name="connsiteX6" fmla="*/ 9236 w 2969491"/>
                  <a:gd name="connsiteY6" fmla="*/ 531290 h 657101"/>
                  <a:gd name="connsiteX7" fmla="*/ 0 w 2969491"/>
                  <a:gd name="connsiteY7" fmla="*/ 208017 h 657101"/>
                  <a:gd name="connsiteX8" fmla="*/ 138545 w 2969491"/>
                  <a:gd name="connsiteY8" fmla="*/ 124890 h 657101"/>
                  <a:gd name="connsiteX0" fmla="*/ 138545 w 2969491"/>
                  <a:gd name="connsiteY0" fmla="*/ 125008 h 657219"/>
                  <a:gd name="connsiteX1" fmla="*/ 2706255 w 2969491"/>
                  <a:gd name="connsiteY1" fmla="*/ 317 h 657219"/>
                  <a:gd name="connsiteX2" fmla="*/ 2890982 w 2969491"/>
                  <a:gd name="connsiteY2" fmla="*/ 78826 h 657219"/>
                  <a:gd name="connsiteX3" fmla="*/ 2969491 w 2969491"/>
                  <a:gd name="connsiteY3" fmla="*/ 258935 h 657219"/>
                  <a:gd name="connsiteX4" fmla="*/ 2872509 w 2969491"/>
                  <a:gd name="connsiteY4" fmla="*/ 379008 h 657219"/>
                  <a:gd name="connsiteX5" fmla="*/ 170873 w 2969491"/>
                  <a:gd name="connsiteY5" fmla="*/ 651481 h 657219"/>
                  <a:gd name="connsiteX6" fmla="*/ 9236 w 2969491"/>
                  <a:gd name="connsiteY6" fmla="*/ 531408 h 657219"/>
                  <a:gd name="connsiteX7" fmla="*/ 0 w 2969491"/>
                  <a:gd name="connsiteY7" fmla="*/ 208135 h 657219"/>
                  <a:gd name="connsiteX8" fmla="*/ 138545 w 2969491"/>
                  <a:gd name="connsiteY8" fmla="*/ 125008 h 657219"/>
                  <a:gd name="connsiteX0" fmla="*/ 138545 w 2972005"/>
                  <a:gd name="connsiteY0" fmla="*/ 125008 h 657219"/>
                  <a:gd name="connsiteX1" fmla="*/ 2706255 w 2972005"/>
                  <a:gd name="connsiteY1" fmla="*/ 317 h 657219"/>
                  <a:gd name="connsiteX2" fmla="*/ 2890982 w 2972005"/>
                  <a:gd name="connsiteY2" fmla="*/ 78826 h 657219"/>
                  <a:gd name="connsiteX3" fmla="*/ 2969491 w 2972005"/>
                  <a:gd name="connsiteY3" fmla="*/ 258935 h 657219"/>
                  <a:gd name="connsiteX4" fmla="*/ 2872509 w 2972005"/>
                  <a:gd name="connsiteY4" fmla="*/ 379008 h 657219"/>
                  <a:gd name="connsiteX5" fmla="*/ 170873 w 2972005"/>
                  <a:gd name="connsiteY5" fmla="*/ 651481 h 657219"/>
                  <a:gd name="connsiteX6" fmla="*/ 9236 w 2972005"/>
                  <a:gd name="connsiteY6" fmla="*/ 531408 h 657219"/>
                  <a:gd name="connsiteX7" fmla="*/ 0 w 2972005"/>
                  <a:gd name="connsiteY7" fmla="*/ 208135 h 657219"/>
                  <a:gd name="connsiteX8" fmla="*/ 138545 w 2972005"/>
                  <a:gd name="connsiteY8" fmla="*/ 125008 h 657219"/>
                  <a:gd name="connsiteX0" fmla="*/ 138545 w 2973912"/>
                  <a:gd name="connsiteY0" fmla="*/ 125008 h 657219"/>
                  <a:gd name="connsiteX1" fmla="*/ 2706255 w 2973912"/>
                  <a:gd name="connsiteY1" fmla="*/ 317 h 657219"/>
                  <a:gd name="connsiteX2" fmla="*/ 2890982 w 2973912"/>
                  <a:gd name="connsiteY2" fmla="*/ 78826 h 657219"/>
                  <a:gd name="connsiteX3" fmla="*/ 2969491 w 2973912"/>
                  <a:gd name="connsiteY3" fmla="*/ 258935 h 657219"/>
                  <a:gd name="connsiteX4" fmla="*/ 2872509 w 2973912"/>
                  <a:gd name="connsiteY4" fmla="*/ 379008 h 657219"/>
                  <a:gd name="connsiteX5" fmla="*/ 170873 w 2973912"/>
                  <a:gd name="connsiteY5" fmla="*/ 651481 h 657219"/>
                  <a:gd name="connsiteX6" fmla="*/ 9236 w 2973912"/>
                  <a:gd name="connsiteY6" fmla="*/ 531408 h 657219"/>
                  <a:gd name="connsiteX7" fmla="*/ 0 w 2973912"/>
                  <a:gd name="connsiteY7" fmla="*/ 208135 h 657219"/>
                  <a:gd name="connsiteX8" fmla="*/ 138545 w 2973912"/>
                  <a:gd name="connsiteY8" fmla="*/ 125008 h 6572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973912" h="657219">
                    <a:moveTo>
                      <a:pt x="138545" y="125008"/>
                    </a:moveTo>
                    <a:lnTo>
                      <a:pt x="2706255" y="317"/>
                    </a:lnTo>
                    <a:cubicBezTo>
                      <a:pt x="2828121" y="-3658"/>
                      <a:pt x="2867087" y="30047"/>
                      <a:pt x="2890982" y="78826"/>
                    </a:cubicBezTo>
                    <a:lnTo>
                      <a:pt x="2969491" y="258935"/>
                    </a:lnTo>
                    <a:cubicBezTo>
                      <a:pt x="2987406" y="336640"/>
                      <a:pt x="2950053" y="379178"/>
                      <a:pt x="2872509" y="379008"/>
                    </a:cubicBezTo>
                    <a:lnTo>
                      <a:pt x="170873" y="651481"/>
                    </a:lnTo>
                    <a:cubicBezTo>
                      <a:pt x="101922" y="666723"/>
                      <a:pt x="5337" y="659356"/>
                      <a:pt x="9236" y="531408"/>
                    </a:cubicBezTo>
                    <a:lnTo>
                      <a:pt x="0" y="208135"/>
                    </a:lnTo>
                    <a:cubicBezTo>
                      <a:pt x="26085" y="152793"/>
                      <a:pt x="37097" y="137645"/>
                      <a:pt x="138545" y="125008"/>
                    </a:cubicBezTo>
                    <a:close/>
                  </a:path>
                </a:pathLst>
              </a:custGeom>
              <a:solidFill>
                <a:srgbClr val="1E3F48"/>
              </a:solidFill>
              <a:ln w="1365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  <p:sp>
          <p:nvSpPr>
            <p:cNvPr id="23" name="ZoneTexte 103">
              <a:extLst>
                <a:ext uri="{FF2B5EF4-FFF2-40B4-BE49-F238E27FC236}">
                  <a16:creationId xmlns:a16="http://schemas.microsoft.com/office/drawing/2014/main" id="{1E5400B5-7BC7-0266-FD7A-80D1F6E5B564}"/>
                </a:ext>
              </a:extLst>
            </p:cNvPr>
            <p:cNvSpPr txBox="1"/>
            <p:nvPr/>
          </p:nvSpPr>
          <p:spPr>
            <a:xfrm>
              <a:off x="3448841" y="4793730"/>
              <a:ext cx="2510377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ar-MA" sz="2667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ال</a:t>
              </a:r>
              <a:r>
                <a:rPr lang="ar-MA" sz="2667" b="1" kern="0" dirty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Calibri" panose="020F0502020204030204" pitchFamily="34" charset="0"/>
                  <a:cs typeface="Calibri" panose="020F0502020204030204" pitchFamily="34" charset="0"/>
                </a:rPr>
                <a:t>أسبـــــــــــــــــــــــــــــــــــــــــوع</a:t>
              </a:r>
              <a:r>
                <a:rPr kumimoji="0" lang="ar-MA" sz="36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uLnTx/>
                  <a:uFillTx/>
                  <a:latin typeface="Microsoft Uighur" panose="02000000000000000000" pitchFamily="2" charset="-78"/>
                  <a:ea typeface="+mn-ea"/>
                  <a:cs typeface="Microsoft Uighur" panose="02000000000000000000" pitchFamily="2" charset="-78"/>
                </a:rPr>
                <a:t> </a:t>
              </a:r>
              <a:r>
                <a:rPr lang="ar-MA" sz="2667" b="1" kern="0" dirty="0">
                  <a:solidFill>
                    <a:prstClr val="white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1</a:t>
              </a:r>
            </a:p>
          </p:txBody>
        </p:sp>
        <p:sp>
          <p:nvSpPr>
            <p:cNvPr id="24" name="ZoneTexte 104">
              <a:extLst>
                <a:ext uri="{FF2B5EF4-FFF2-40B4-BE49-F238E27FC236}">
                  <a16:creationId xmlns:a16="http://schemas.microsoft.com/office/drawing/2014/main" id="{F348931E-3B0C-075B-B62E-4475484F93BA}"/>
                </a:ext>
              </a:extLst>
            </p:cNvPr>
            <p:cNvSpPr txBox="1"/>
            <p:nvPr/>
          </p:nvSpPr>
          <p:spPr>
            <a:xfrm>
              <a:off x="3093034" y="5396701"/>
              <a:ext cx="2335288" cy="50276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ar-MA" sz="2667" b="1" kern="0" dirty="0">
                  <a:solidFill>
                    <a:prstClr val="white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مراجعة</a:t>
              </a:r>
            </a:p>
          </p:txBody>
        </p:sp>
      </p:grpSp>
      <p:grpSp>
        <p:nvGrpSpPr>
          <p:cNvPr id="27" name="Groupe 96">
            <a:extLst>
              <a:ext uri="{FF2B5EF4-FFF2-40B4-BE49-F238E27FC236}">
                <a16:creationId xmlns:a16="http://schemas.microsoft.com/office/drawing/2014/main" id="{94366D79-CE63-19DD-E464-6CC4DCE8E246}"/>
              </a:ext>
            </a:extLst>
          </p:cNvPr>
          <p:cNvGrpSpPr/>
          <p:nvPr/>
        </p:nvGrpSpPr>
        <p:grpSpPr>
          <a:xfrm>
            <a:off x="5842136" y="4598635"/>
            <a:ext cx="1632900" cy="1356678"/>
            <a:chOff x="7066003" y="1822095"/>
            <a:chExt cx="1632900" cy="1356678"/>
          </a:xfrm>
        </p:grpSpPr>
        <p:grpSp>
          <p:nvGrpSpPr>
            <p:cNvPr id="28" name="Groupe 74">
              <a:extLst>
                <a:ext uri="{FF2B5EF4-FFF2-40B4-BE49-F238E27FC236}">
                  <a16:creationId xmlns:a16="http://schemas.microsoft.com/office/drawing/2014/main" id="{74116ED5-EC55-CAB3-89AB-B7402A4F0FF6}"/>
                </a:ext>
              </a:extLst>
            </p:cNvPr>
            <p:cNvGrpSpPr/>
            <p:nvPr/>
          </p:nvGrpSpPr>
          <p:grpSpPr>
            <a:xfrm flipH="1">
              <a:off x="7177562" y="1822095"/>
              <a:ext cx="1394889" cy="1356678"/>
              <a:chOff x="104413" y="285342"/>
              <a:chExt cx="2111436" cy="2053595"/>
            </a:xfrm>
          </p:grpSpPr>
          <p:sp>
            <p:nvSpPr>
              <p:cNvPr id="31" name="ZoneTexte 73">
                <a:extLst>
                  <a:ext uri="{FF2B5EF4-FFF2-40B4-BE49-F238E27FC236}">
                    <a16:creationId xmlns:a16="http://schemas.microsoft.com/office/drawing/2014/main" id="{96666752-657F-F88D-8EEF-F2539DAF9BAA}"/>
                  </a:ext>
                </a:extLst>
              </p:cNvPr>
              <p:cNvSpPr txBox="1"/>
              <p:nvPr/>
            </p:nvSpPr>
            <p:spPr>
              <a:xfrm rot="19636752">
                <a:off x="104413" y="536954"/>
                <a:ext cx="2052844" cy="144422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457200" rtl="1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ar-MA" sz="2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uLnTx/>
                    <a:uFillTx/>
                    <a:latin typeface="A Massir Ballpoint" panose="00000100000000000000" pitchFamily="2" charset="-78"/>
                    <a:ea typeface="+mn-ea"/>
                    <a:cs typeface="Boahmed Alhour" pitchFamily="2" charset="-78"/>
                  </a:rPr>
                  <a:t>المقاعد</a:t>
                </a:r>
              </a:p>
              <a:p>
                <a:pPr marL="0" marR="0" lvl="0" indent="0" algn="ctr" defTabSz="457200" rtl="1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ar-MA" sz="2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uLnTx/>
                    <a:uFillTx/>
                    <a:latin typeface="A Massir Ballpoint" panose="00000100000000000000" pitchFamily="2" charset="-78"/>
                    <a:ea typeface="+mn-ea"/>
                    <a:cs typeface="Boahmed Alhour" pitchFamily="2" charset="-78"/>
                  </a:rPr>
                  <a:t>محدودة</a:t>
                </a:r>
                <a:endParaRPr kumimoji="0" lang="ar-MA" sz="20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uLnTx/>
                  <a:uFillTx/>
                  <a:latin typeface="A Massir Ballpoint" panose="00000100000000000000" pitchFamily="2" charset="-78"/>
                  <a:ea typeface="+mn-ea"/>
                  <a:cs typeface="Boahmed Alhour" pitchFamily="2" charset="-78"/>
                </a:endParaRPr>
              </a:p>
            </p:txBody>
          </p:sp>
          <p:grpSp>
            <p:nvGrpSpPr>
              <p:cNvPr id="32" name="Graphique 72">
                <a:extLst>
                  <a:ext uri="{FF2B5EF4-FFF2-40B4-BE49-F238E27FC236}">
                    <a16:creationId xmlns:a16="http://schemas.microsoft.com/office/drawing/2014/main" id="{08A5D350-E27F-211B-C750-EEF8A7577276}"/>
                  </a:ext>
                </a:extLst>
              </p:cNvPr>
              <p:cNvGrpSpPr/>
              <p:nvPr/>
            </p:nvGrpSpPr>
            <p:grpSpPr>
              <a:xfrm>
                <a:off x="157532" y="285342"/>
                <a:ext cx="2058317" cy="2053595"/>
                <a:chOff x="157532" y="285342"/>
                <a:chExt cx="2058317" cy="2053595"/>
              </a:xfrm>
            </p:grpSpPr>
            <p:sp>
              <p:nvSpPr>
                <p:cNvPr id="33" name="Forme libre : forme 76">
                  <a:extLst>
                    <a:ext uri="{FF2B5EF4-FFF2-40B4-BE49-F238E27FC236}">
                      <a16:creationId xmlns:a16="http://schemas.microsoft.com/office/drawing/2014/main" id="{DA4A1B25-EF9B-0706-67CC-DB8EB976973C}"/>
                    </a:ext>
                  </a:extLst>
                </p:cNvPr>
                <p:cNvSpPr/>
                <p:nvPr/>
              </p:nvSpPr>
              <p:spPr>
                <a:xfrm>
                  <a:off x="157532" y="285342"/>
                  <a:ext cx="2058317" cy="2053595"/>
                </a:xfrm>
                <a:custGeom>
                  <a:avLst/>
                  <a:gdLst>
                    <a:gd name="connsiteX0" fmla="*/ 1980901 w 2058317"/>
                    <a:gd name="connsiteY0" fmla="*/ 1385151 h 2053595"/>
                    <a:gd name="connsiteX1" fmla="*/ 2008670 w 2058317"/>
                    <a:gd name="connsiteY1" fmla="*/ 1343789 h 2053595"/>
                    <a:gd name="connsiteX2" fmla="*/ 2009059 w 2058317"/>
                    <a:gd name="connsiteY2" fmla="*/ 1343401 h 2053595"/>
                    <a:gd name="connsiteX3" fmla="*/ 2057217 w 2058317"/>
                    <a:gd name="connsiteY3" fmla="*/ 980854 h 2053595"/>
                    <a:gd name="connsiteX4" fmla="*/ 1070165 w 2058317"/>
                    <a:gd name="connsiteY4" fmla="*/ 792 h 2053595"/>
                    <a:gd name="connsiteX5" fmla="*/ 0 w 2058317"/>
                    <a:gd name="connsiteY5" fmla="*/ 1029206 h 2053595"/>
                    <a:gd name="connsiteX6" fmla="*/ 925301 w 2058317"/>
                    <a:gd name="connsiteY6" fmla="*/ 2052960 h 2053595"/>
                    <a:gd name="connsiteX7" fmla="*/ 1003170 w 2058317"/>
                    <a:gd name="connsiteY7" fmla="*/ 2035289 h 2053595"/>
                    <a:gd name="connsiteX8" fmla="*/ 1980707 w 2058317"/>
                    <a:gd name="connsiteY8" fmla="*/ 1385928 h 2053595"/>
                    <a:gd name="connsiteX9" fmla="*/ 1980901 w 2058317"/>
                    <a:gd name="connsiteY9" fmla="*/ 1385151 h 205359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2058317" h="2053595">
                      <a:moveTo>
                        <a:pt x="1980901" y="1385151"/>
                      </a:moveTo>
                      <a:cubicBezTo>
                        <a:pt x="1991388" y="1372140"/>
                        <a:pt x="1997019" y="1356023"/>
                        <a:pt x="2008670" y="1343789"/>
                      </a:cubicBezTo>
                      <a:cubicBezTo>
                        <a:pt x="2008864" y="1343595"/>
                        <a:pt x="2009059" y="1343595"/>
                        <a:pt x="2009059" y="1343401"/>
                      </a:cubicBezTo>
                      <a:cubicBezTo>
                        <a:pt x="2045566" y="1229801"/>
                        <a:pt x="2063043" y="1107852"/>
                        <a:pt x="2057217" y="980854"/>
                      </a:cubicBezTo>
                      <a:cubicBezTo>
                        <a:pt x="2032944" y="450529"/>
                        <a:pt x="1600489" y="21376"/>
                        <a:pt x="1070165" y="792"/>
                      </a:cubicBezTo>
                      <a:cubicBezTo>
                        <a:pt x="483137" y="-21928"/>
                        <a:pt x="0" y="447228"/>
                        <a:pt x="0" y="1029206"/>
                      </a:cubicBezTo>
                      <a:cubicBezTo>
                        <a:pt x="0" y="1562444"/>
                        <a:pt x="405657" y="2000918"/>
                        <a:pt x="925301" y="2052960"/>
                      </a:cubicBezTo>
                      <a:cubicBezTo>
                        <a:pt x="952487" y="2055679"/>
                        <a:pt x="979868" y="2049659"/>
                        <a:pt x="1003170" y="2035289"/>
                      </a:cubicBezTo>
                      <a:cubicBezTo>
                        <a:pt x="1171142" y="1931593"/>
                        <a:pt x="1853709" y="1481273"/>
                        <a:pt x="1980707" y="1385928"/>
                      </a:cubicBezTo>
                      <a:cubicBezTo>
                        <a:pt x="1980707" y="1385733"/>
                        <a:pt x="1980707" y="1385345"/>
                        <a:pt x="1980901" y="1385151"/>
                      </a:cubicBezTo>
                      <a:close/>
                    </a:path>
                  </a:pathLst>
                </a:custGeom>
                <a:gradFill>
                  <a:gsLst>
                    <a:gs pos="50000">
                      <a:srgbClr val="38A4B4"/>
                    </a:gs>
                    <a:gs pos="0">
                      <a:srgbClr val="70B1B6"/>
                    </a:gs>
                    <a:gs pos="100000">
                      <a:srgbClr val="0097B2"/>
                    </a:gs>
                  </a:gsLst>
                  <a:lin ang="5400000" scaled="1"/>
                </a:gradFill>
                <a:ln w="13658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34" name="Forme libre : forme 77">
                  <a:extLst>
                    <a:ext uri="{FF2B5EF4-FFF2-40B4-BE49-F238E27FC236}">
                      <a16:creationId xmlns:a16="http://schemas.microsoft.com/office/drawing/2014/main" id="{800696A1-46D9-C432-0608-AF9760014DE1}"/>
                    </a:ext>
                  </a:extLst>
                </p:cNvPr>
                <p:cNvSpPr/>
                <p:nvPr/>
              </p:nvSpPr>
              <p:spPr>
                <a:xfrm>
                  <a:off x="930202" y="1608353"/>
                  <a:ext cx="1239495" cy="722809"/>
                </a:xfrm>
                <a:custGeom>
                  <a:avLst/>
                  <a:gdLst>
                    <a:gd name="connsiteX0" fmla="*/ 1239496 w 1239495"/>
                    <a:gd name="connsiteY0" fmla="*/ 0 h 722809"/>
                    <a:gd name="connsiteX1" fmla="*/ 1149587 w 1239495"/>
                    <a:gd name="connsiteY1" fmla="*/ 36313 h 722809"/>
                    <a:gd name="connsiteX2" fmla="*/ 1039871 w 1239495"/>
                    <a:gd name="connsiteY2" fmla="*/ 41168 h 722809"/>
                    <a:gd name="connsiteX3" fmla="*/ 822382 w 1239495"/>
                    <a:gd name="connsiteY3" fmla="*/ 88549 h 722809"/>
                    <a:gd name="connsiteX4" fmla="*/ 624894 w 1239495"/>
                    <a:gd name="connsiteY4" fmla="*/ 179235 h 722809"/>
                    <a:gd name="connsiteX5" fmla="*/ 452456 w 1239495"/>
                    <a:gd name="connsiteY5" fmla="*/ 307786 h 722809"/>
                    <a:gd name="connsiteX6" fmla="*/ 310505 w 1239495"/>
                    <a:gd name="connsiteY6" fmla="*/ 468961 h 722809"/>
                    <a:gd name="connsiteX7" fmla="*/ 218849 w 1239495"/>
                    <a:gd name="connsiteY7" fmla="*/ 625671 h 722809"/>
                    <a:gd name="connsiteX8" fmla="*/ 166612 w 1239495"/>
                    <a:gd name="connsiteY8" fmla="*/ 677130 h 722809"/>
                    <a:gd name="connsiteX9" fmla="*/ 0 w 1239495"/>
                    <a:gd name="connsiteY9" fmla="*/ 692471 h 722809"/>
                    <a:gd name="connsiteX10" fmla="*/ 179429 w 1239495"/>
                    <a:gd name="connsiteY10" fmla="*/ 721599 h 722809"/>
                    <a:gd name="connsiteX11" fmla="*/ 788982 w 1239495"/>
                    <a:gd name="connsiteY11" fmla="*/ 407598 h 722809"/>
                    <a:gd name="connsiteX12" fmla="*/ 1166093 w 1239495"/>
                    <a:gd name="connsiteY12" fmla="*/ 99424 h 722809"/>
                    <a:gd name="connsiteX13" fmla="*/ 1199687 w 1239495"/>
                    <a:gd name="connsiteY13" fmla="*/ 66218 h 722809"/>
                    <a:gd name="connsiteX14" fmla="*/ 1239496 w 1239495"/>
                    <a:gd name="connsiteY14" fmla="*/ 0 h 72280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</a:cxnLst>
                  <a:rect l="l" t="t" r="r" b="b"/>
                  <a:pathLst>
                    <a:path w="1239495" h="722809">
                      <a:moveTo>
                        <a:pt x="1239496" y="0"/>
                      </a:moveTo>
                      <a:cubicBezTo>
                        <a:pt x="1220077" y="32818"/>
                        <a:pt x="1182016" y="36895"/>
                        <a:pt x="1149587" y="36313"/>
                      </a:cubicBezTo>
                      <a:cubicBezTo>
                        <a:pt x="1112886" y="35730"/>
                        <a:pt x="1076379" y="37284"/>
                        <a:pt x="1039871" y="41168"/>
                      </a:cubicBezTo>
                      <a:cubicBezTo>
                        <a:pt x="965886" y="48935"/>
                        <a:pt x="892872" y="64858"/>
                        <a:pt x="822382" y="88549"/>
                      </a:cubicBezTo>
                      <a:cubicBezTo>
                        <a:pt x="753640" y="111658"/>
                        <a:pt x="687228" y="142145"/>
                        <a:pt x="624894" y="179235"/>
                      </a:cubicBezTo>
                      <a:cubicBezTo>
                        <a:pt x="563142" y="215936"/>
                        <a:pt x="505274" y="259045"/>
                        <a:pt x="452456" y="307786"/>
                      </a:cubicBezTo>
                      <a:cubicBezTo>
                        <a:pt x="399831" y="356333"/>
                        <a:pt x="352061" y="410511"/>
                        <a:pt x="310505" y="468961"/>
                      </a:cubicBezTo>
                      <a:cubicBezTo>
                        <a:pt x="275357" y="518285"/>
                        <a:pt x="244676" y="570910"/>
                        <a:pt x="218849" y="625671"/>
                      </a:cubicBezTo>
                      <a:cubicBezTo>
                        <a:pt x="210693" y="642759"/>
                        <a:pt x="186031" y="665867"/>
                        <a:pt x="166612" y="677130"/>
                      </a:cubicBezTo>
                      <a:cubicBezTo>
                        <a:pt x="84471" y="724900"/>
                        <a:pt x="41168" y="698879"/>
                        <a:pt x="0" y="692471"/>
                      </a:cubicBezTo>
                      <a:cubicBezTo>
                        <a:pt x="108745" y="731891"/>
                        <a:pt x="179429" y="721599"/>
                        <a:pt x="179429" y="721599"/>
                      </a:cubicBezTo>
                      <a:cubicBezTo>
                        <a:pt x="285649" y="714996"/>
                        <a:pt x="563531" y="561200"/>
                        <a:pt x="788982" y="407598"/>
                      </a:cubicBezTo>
                      <a:cubicBezTo>
                        <a:pt x="940642" y="304291"/>
                        <a:pt x="1065310" y="197488"/>
                        <a:pt x="1166093" y="99424"/>
                      </a:cubicBezTo>
                      <a:cubicBezTo>
                        <a:pt x="1179686" y="87384"/>
                        <a:pt x="1190560" y="76315"/>
                        <a:pt x="1199687" y="66218"/>
                      </a:cubicBezTo>
                      <a:cubicBezTo>
                        <a:pt x="1225708" y="37672"/>
                        <a:pt x="1239496" y="0"/>
                        <a:pt x="1239496" y="0"/>
                      </a:cubicBezTo>
                      <a:close/>
                    </a:path>
                  </a:pathLst>
                </a:custGeom>
                <a:gradFill>
                  <a:gsLst>
                    <a:gs pos="0">
                      <a:srgbClr val="005664"/>
                    </a:gs>
                    <a:gs pos="99350">
                      <a:srgbClr val="0097B2"/>
                    </a:gs>
                  </a:gsLst>
                  <a:lin ang="14501957" scaled="1"/>
                </a:gradFill>
                <a:ln w="13658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</p:grpSp>
        </p:grpSp>
        <p:sp>
          <p:nvSpPr>
            <p:cNvPr id="29" name="ZoneTexte 78">
              <a:extLst>
                <a:ext uri="{FF2B5EF4-FFF2-40B4-BE49-F238E27FC236}">
                  <a16:creationId xmlns:a16="http://schemas.microsoft.com/office/drawing/2014/main" id="{98EBFAAA-78FA-D1FD-2442-2EF4EB78946D}"/>
                </a:ext>
              </a:extLst>
            </p:cNvPr>
            <p:cNvSpPr txBox="1"/>
            <p:nvPr/>
          </p:nvSpPr>
          <p:spPr>
            <a:xfrm>
              <a:off x="7066256" y="2094632"/>
              <a:ext cx="1632647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ar-MA" sz="2000" b="1" kern="0" dirty="0"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Calibri" panose="020F0502020204030204" pitchFamily="34" charset="0"/>
                  <a:cs typeface="Calibri" panose="020F0502020204030204" pitchFamily="34" charset="0"/>
                </a:rPr>
                <a:t>المرحلة</a:t>
              </a:r>
            </a:p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ar-MA" sz="1600" b="1" i="0" u="none" strike="noStrike" kern="1200" cap="none" spc="0" normalizeH="0" baseline="0" noProof="0" dirty="0">
                  <a:ln>
                    <a:noFill/>
                  </a:ln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uLnTx/>
                  <a:uFillTx/>
                  <a:latin typeface="Air Strip Arabic" panose="02000500000000000000" pitchFamily="2" charset="-78"/>
                  <a:ea typeface="+mn-ea"/>
                  <a:cs typeface="Air Strip Arabic" panose="02000500000000000000" pitchFamily="2" charset="-78"/>
                </a:rPr>
                <a:t> </a:t>
              </a:r>
              <a:endParaRPr kumimoji="0" lang="ar-MA" sz="1600" b="1" i="0" u="none" strike="noStrike" kern="1200" cap="none" spc="0" normalizeH="0" baseline="0" noProof="0" dirty="0">
                <a:ln>
                  <a:noFill/>
                </a:ln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endParaRPr>
            </a:p>
          </p:txBody>
        </p:sp>
        <p:sp>
          <p:nvSpPr>
            <p:cNvPr id="30" name="ZoneTexte 1">
              <a:extLst>
                <a:ext uri="{FF2B5EF4-FFF2-40B4-BE49-F238E27FC236}">
                  <a16:creationId xmlns:a16="http://schemas.microsoft.com/office/drawing/2014/main" id="{0AFBC2AD-27C0-70B4-EE3F-FD6FB36FAB42}"/>
                </a:ext>
              </a:extLst>
            </p:cNvPr>
            <p:cNvSpPr txBox="1"/>
            <p:nvPr/>
          </p:nvSpPr>
          <p:spPr>
            <a:xfrm>
              <a:off x="7066003" y="2411583"/>
              <a:ext cx="1632647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ar-MA" sz="2000" b="1" kern="0" dirty="0"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Calibri" panose="020F0502020204030204" pitchFamily="34" charset="0"/>
                  <a:cs typeface="Calibri" panose="020F0502020204030204" pitchFamily="34" charset="0"/>
                </a:rPr>
                <a:t>1</a:t>
              </a:r>
            </a:p>
          </p:txBody>
        </p:sp>
      </p:grp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5">
            <a:lum/>
          </a:blip>
          <a:srcRect/>
          <a:stretch>
            <a:fillRect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E6ACC123-8E56-B669-F405-3F4D1081F92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 1">
            <a:extLst>
              <a:ext uri="{FF2B5EF4-FFF2-40B4-BE49-F238E27FC236}">
                <a16:creationId xmlns:a16="http://schemas.microsoft.com/office/drawing/2014/main" id="{A7B38646-8A1C-6DB2-C2A3-260BA00B10DF}"/>
              </a:ext>
            </a:extLst>
          </p:cNvPr>
          <p:cNvPicPr/>
          <p:nvPr/>
        </p:nvPicPr>
        <p:blipFill>
          <a:blip r:embed="rId6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4" name="ZoneTexte 3">
            <a:extLst>
              <a:ext uri="{FF2B5EF4-FFF2-40B4-BE49-F238E27FC236}">
                <a16:creationId xmlns:a16="http://schemas.microsoft.com/office/drawing/2014/main" id="{CE09179B-12C1-E5AB-2BDA-EE74D4D11A1B}"/>
              </a:ext>
            </a:extLst>
          </p:cNvPr>
          <p:cNvSpPr txBox="1"/>
          <p:nvPr/>
        </p:nvSpPr>
        <p:spPr>
          <a:xfrm>
            <a:off x="703218" y="539921"/>
            <a:ext cx="7806610" cy="39215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rtl="1">
              <a:lnSpc>
                <a:spcPct val="115000"/>
              </a:lnSpc>
              <a:spcAft>
                <a:spcPts val="800"/>
              </a:spcAft>
            </a:pPr>
            <a:r>
              <a:rPr lang="ar-MA" b="1" dirty="0">
                <a:solidFill>
                  <a:prstClr val="white">
                    <a:lumMod val="65000"/>
                  </a:prst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ضعوا أدواتكم على الطاولة: كراستي في الحساب الذهني، كراسة الرياضيات، قلم الرصاص.</a:t>
            </a:r>
            <a:endParaRPr lang="fr-MA" b="1" dirty="0">
              <a:solidFill>
                <a:prstClr val="white">
                  <a:lumMod val="65000"/>
                </a:prst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3" name="Image 2">
            <a:extLst>
              <a:ext uri="{FF2B5EF4-FFF2-40B4-BE49-F238E27FC236}">
                <a16:creationId xmlns:a16="http://schemas.microsoft.com/office/drawing/2014/main" id="{53A01777-B08B-DCC1-B6FF-46387FECC8AA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416387" y="2310016"/>
            <a:ext cx="1390875" cy="1965675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sp>
        <p:nvSpPr>
          <p:cNvPr id="8" name="Rectangle : coins arrondis 20">
            <a:extLst>
              <a:ext uri="{FF2B5EF4-FFF2-40B4-BE49-F238E27FC236}">
                <a16:creationId xmlns:a16="http://schemas.microsoft.com/office/drawing/2014/main" id="{55618918-9777-A21B-0BCD-03B83178CBFA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1019754" y="4538304"/>
            <a:ext cx="1518287" cy="419617"/>
          </a:xfrm>
          <a:prstGeom prst="roundRect">
            <a:avLst>
              <a:gd name="adj" fmla="val 32258"/>
            </a:avLst>
          </a:prstGeom>
          <a:solidFill>
            <a:schemeClr val="bg1">
              <a:lumMod val="95000"/>
            </a:schemeClr>
          </a:solidFill>
          <a:ln w="1270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ar-MA" sz="1600" b="1">
                <a:solidFill>
                  <a:srgbClr val="4BACC6">
                    <a:lumMod val="50000"/>
                  </a:srgbClr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قلم الرصاص</a:t>
            </a:r>
            <a:endParaRPr lang="fr-FR" sz="1600" b="1">
              <a:solidFill>
                <a:srgbClr val="4BACC6">
                  <a:lumMod val="50000"/>
                </a:srgbClr>
              </a:solidFill>
              <a:latin typeface="Cambria" panose="02040503050406030204" pitchFamily="18" charset="0"/>
              <a:ea typeface="Cambria" panose="02040503050406030204" pitchFamily="18" charset="0"/>
            </a:endParaRPr>
          </a:p>
        </p:txBody>
      </p:sp>
      <p:sp>
        <p:nvSpPr>
          <p:cNvPr id="9" name="Rectangle : coins arrondis 8">
            <a:extLst>
              <a:ext uri="{FF2B5EF4-FFF2-40B4-BE49-F238E27FC236}">
                <a16:creationId xmlns:a16="http://schemas.microsoft.com/office/drawing/2014/main" id="{EBDE4094-2C57-7196-CDB9-105B7E4041B7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5988907" y="4540109"/>
            <a:ext cx="2245834" cy="419617"/>
          </a:xfrm>
          <a:prstGeom prst="roundRect">
            <a:avLst>
              <a:gd name="adj" fmla="val 32258"/>
            </a:avLst>
          </a:prstGeom>
          <a:solidFill>
            <a:schemeClr val="bg1">
              <a:lumMod val="95000"/>
            </a:schemeClr>
          </a:solidFill>
          <a:ln w="1270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ar-MA" sz="1600" b="1" dirty="0">
                <a:solidFill>
                  <a:srgbClr val="4BACC6">
                    <a:lumMod val="50000"/>
                  </a:srgbClr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كراستي في الحساب الذهني</a:t>
            </a:r>
            <a:endParaRPr lang="fr-FR" sz="1600" b="1" dirty="0">
              <a:solidFill>
                <a:srgbClr val="4BACC6">
                  <a:lumMod val="50000"/>
                </a:srgbClr>
              </a:solidFill>
              <a:latin typeface="Cambria" panose="02040503050406030204" pitchFamily="18" charset="0"/>
              <a:ea typeface="Cambria" panose="02040503050406030204" pitchFamily="18" charset="0"/>
            </a:endParaRPr>
          </a:p>
        </p:txBody>
      </p:sp>
      <p:pic>
        <p:nvPicPr>
          <p:cNvPr id="27" name="Picture 2" descr="صور قلم رصاص PNG الصور | ناقل و PSD الملفات | تحميل مجاني على Pngtree">
            <a:extLst>
              <a:ext uri="{FF2B5EF4-FFF2-40B4-BE49-F238E27FC236}">
                <a16:creationId xmlns:a16="http://schemas.microsoft.com/office/drawing/2014/main" id="{CC0B3418-6F43-A1EE-0FB7-F0D1D1E658F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3463" y="2755871"/>
            <a:ext cx="1444578" cy="14445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9" name="Image 28">
            <a:extLst>
              <a:ext uri="{FF2B5EF4-FFF2-40B4-BE49-F238E27FC236}">
                <a16:creationId xmlns:a16="http://schemas.microsoft.com/office/drawing/2014/main" id="{F7E76810-316B-6443-7DEA-57357E238493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297726" y="756815"/>
            <a:ext cx="917463" cy="806256"/>
          </a:xfrm>
          <a:prstGeom prst="rect">
            <a:avLst/>
          </a:prstGeom>
        </p:spPr>
      </p:pic>
      <p:pic>
        <p:nvPicPr>
          <p:cNvPr id="6" name="Image 5">
            <a:extLst>
              <a:ext uri="{FF2B5EF4-FFF2-40B4-BE49-F238E27FC236}">
                <a16:creationId xmlns:a16="http://schemas.microsoft.com/office/drawing/2014/main" id="{0A770396-9F77-8B2C-48DB-4E5321BE1951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817569" y="2310016"/>
            <a:ext cx="1390875" cy="212291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7" name="Rectangle : coins arrondis 6">
            <a:extLst>
              <a:ext uri="{FF2B5EF4-FFF2-40B4-BE49-F238E27FC236}">
                <a16:creationId xmlns:a16="http://schemas.microsoft.com/office/drawing/2014/main" id="{60C9992A-E564-82B7-C50D-27C346C6CF93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3641581" y="4540109"/>
            <a:ext cx="1742853" cy="419617"/>
          </a:xfrm>
          <a:prstGeom prst="roundRect">
            <a:avLst>
              <a:gd name="adj" fmla="val 32258"/>
            </a:avLst>
          </a:prstGeom>
          <a:solidFill>
            <a:schemeClr val="bg1">
              <a:lumMod val="95000"/>
            </a:schemeClr>
          </a:solidFill>
          <a:ln w="1270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ar-MA" sz="1600" b="1" dirty="0">
                <a:solidFill>
                  <a:srgbClr val="4BACC6">
                    <a:lumMod val="50000"/>
                  </a:srgbClr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كراسة الرياضيات</a:t>
            </a:r>
            <a:endParaRPr lang="fr-FR" sz="1600" b="1" dirty="0">
              <a:solidFill>
                <a:srgbClr val="4BACC6">
                  <a:lumMod val="50000"/>
                </a:srgbClr>
              </a:solidFill>
              <a:latin typeface="Cambria" panose="02040503050406030204" pitchFamily="18" charset="0"/>
              <a:ea typeface="Cambria" panose="020405030504060302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6990347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C2B28070-97B4-EB69-4C3B-0D63BD7A5E1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 6">
            <a:extLst>
              <a:ext uri="{FF2B5EF4-FFF2-40B4-BE49-F238E27FC236}">
                <a16:creationId xmlns:a16="http://schemas.microsoft.com/office/drawing/2014/main" id="{E4B56BF4-7141-8FD6-481A-CFE18E39D301}"/>
              </a:ext>
            </a:extLst>
          </p:cNvPr>
          <p:cNvPicPr/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3" name="Google Shape;313;p11">
            <a:extLst>
              <a:ext uri="{FF2B5EF4-FFF2-40B4-BE49-F238E27FC236}">
                <a16:creationId xmlns:a16="http://schemas.microsoft.com/office/drawing/2014/main" id="{FCCA8853-BF7D-82E3-B949-6D92483E118F}"/>
              </a:ext>
            </a:extLst>
          </p:cNvPr>
          <p:cNvSpPr txBox="1"/>
          <p:nvPr/>
        </p:nvSpPr>
        <p:spPr>
          <a:xfrm>
            <a:off x="1040063" y="575388"/>
            <a:ext cx="7462091" cy="33852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0950" tIns="30467" rIns="60950" bIns="30467" anchor="t" anchorCtr="0">
            <a:spAutoFit/>
          </a:bodyPr>
          <a:lstStyle/>
          <a:p>
            <a:pPr algn="r" rtl="1"/>
            <a:r>
              <a:rPr lang="ar-MA" b="1" dirty="0">
                <a:solidFill>
                  <a:srgbClr val="A5A5A5"/>
                </a:solidFill>
                <a:latin typeface="Calibri"/>
                <a:ea typeface="Calibri"/>
                <a:cs typeface="Calibri"/>
                <a:sym typeface="Calibri"/>
              </a:rPr>
              <a:t>افتحوا كراسة الحساب الذهني في الصفحة 3.</a:t>
            </a:r>
            <a:endParaRPr i="1" dirty="0">
              <a:solidFill>
                <a:srgbClr val="A5A5A5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6" name="Image 5">
            <a:extLst>
              <a:ext uri="{FF2B5EF4-FFF2-40B4-BE49-F238E27FC236}">
                <a16:creationId xmlns:a16="http://schemas.microsoft.com/office/drawing/2014/main" id="{2F429BA7-5383-C4E6-6EFB-E452CEC9234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920180" y="1251680"/>
            <a:ext cx="3696929" cy="51919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3980665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020A0033-06D9-3E01-9AD0-1D6CB43882C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 7">
            <a:extLst>
              <a:ext uri="{FF2B5EF4-FFF2-40B4-BE49-F238E27FC236}">
                <a16:creationId xmlns:a16="http://schemas.microsoft.com/office/drawing/2014/main" id="{0FA5946A-9657-768D-9F50-AFA7B9BC298C}"/>
              </a:ext>
            </a:extLst>
          </p:cNvPr>
          <p:cNvPicPr/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3" name="Google Shape;313;p11">
            <a:extLst>
              <a:ext uri="{FF2B5EF4-FFF2-40B4-BE49-F238E27FC236}">
                <a16:creationId xmlns:a16="http://schemas.microsoft.com/office/drawing/2014/main" id="{DA998CAE-A29A-755F-D1CD-03074CFE9D02}"/>
              </a:ext>
            </a:extLst>
          </p:cNvPr>
          <p:cNvSpPr txBox="1"/>
          <p:nvPr/>
        </p:nvSpPr>
        <p:spPr>
          <a:xfrm>
            <a:off x="1040063" y="575388"/>
            <a:ext cx="7462091" cy="33852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0950" tIns="30467" rIns="60950" bIns="30467" anchor="t" anchorCtr="0">
            <a:spAutoFit/>
          </a:bodyPr>
          <a:lstStyle/>
          <a:p>
            <a:pPr algn="r" rtl="1"/>
            <a:r>
              <a:rPr lang="ar-MA" b="1" dirty="0">
                <a:solidFill>
                  <a:srgbClr val="A5A5A5"/>
                </a:solidFill>
                <a:latin typeface="Calibri"/>
                <a:ea typeface="Calibri"/>
                <a:cs typeface="Calibri"/>
                <a:sym typeface="Calibri"/>
              </a:rPr>
              <a:t>النشاط 1: اقرؤوا الأعداد من 1 إلى 10 بهمس. سأمر بين الصفوف لمساعدتكم.</a:t>
            </a:r>
            <a:endParaRPr i="1" dirty="0">
              <a:solidFill>
                <a:srgbClr val="A5A5A5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5" name="Image 4">
            <a:extLst>
              <a:ext uri="{FF2B5EF4-FFF2-40B4-BE49-F238E27FC236}">
                <a16:creationId xmlns:a16="http://schemas.microsoft.com/office/drawing/2014/main" id="{7FBD64EE-67F2-BC9E-7C20-46EBD8748C3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34297" y="2485938"/>
            <a:ext cx="8416414" cy="17288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4229018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EFBED64D-B200-E8FD-BDA7-FC6972F87B4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3">
            <a:extLst>
              <a:ext uri="{FF2B5EF4-FFF2-40B4-BE49-F238E27FC236}">
                <a16:creationId xmlns:a16="http://schemas.microsoft.com/office/drawing/2014/main" id="{9EBF9819-9117-6D51-3FB0-98F6BB5EE1F7}"/>
              </a:ext>
            </a:extLst>
          </p:cNvPr>
          <p:cNvPicPr/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3" name="Google Shape;313;p11">
            <a:extLst>
              <a:ext uri="{FF2B5EF4-FFF2-40B4-BE49-F238E27FC236}">
                <a16:creationId xmlns:a16="http://schemas.microsoft.com/office/drawing/2014/main" id="{17CD7841-0AD7-1FDE-DE24-190EFAB6DCDC}"/>
              </a:ext>
            </a:extLst>
          </p:cNvPr>
          <p:cNvSpPr txBox="1"/>
          <p:nvPr/>
        </p:nvSpPr>
        <p:spPr>
          <a:xfrm>
            <a:off x="1000734" y="506562"/>
            <a:ext cx="7462091" cy="61552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0950" tIns="30467" rIns="60950" bIns="30467" anchor="t" anchorCtr="0">
            <a:spAutoFit/>
          </a:bodyPr>
          <a:lstStyle/>
          <a:p>
            <a:pPr algn="r" rtl="1"/>
            <a:r>
              <a:rPr lang="ar-MA" b="1" dirty="0">
                <a:solidFill>
                  <a:srgbClr val="A5A5A5"/>
                </a:solidFill>
                <a:latin typeface="Calibri"/>
                <a:ea typeface="Calibri"/>
                <a:cs typeface="Calibri"/>
                <a:sym typeface="Calibri"/>
              </a:rPr>
              <a:t>النشاط 2: اكتبوا الأعداد بالأرقام كما في المثال.</a:t>
            </a:r>
          </a:p>
          <a:p>
            <a:pPr algn="r" rtl="1"/>
            <a:r>
              <a:rPr lang="ar-MA" i="1" dirty="0">
                <a:solidFill>
                  <a:srgbClr val="A5A5A5"/>
                </a:solidFill>
                <a:latin typeface="Calibri"/>
                <a:ea typeface="Calibri"/>
                <a:cs typeface="Calibri"/>
                <a:sym typeface="Calibri"/>
              </a:rPr>
              <a:t>يقرأ المدرس(ة) العدد بالحروف ويطلب من التلاميذ كتابته بالأرقام.</a:t>
            </a:r>
            <a:endParaRPr i="1" dirty="0">
              <a:solidFill>
                <a:srgbClr val="A5A5A5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5" name="Image 4">
            <a:extLst>
              <a:ext uri="{FF2B5EF4-FFF2-40B4-BE49-F238E27FC236}">
                <a16:creationId xmlns:a16="http://schemas.microsoft.com/office/drawing/2014/main" id="{D2593037-B23D-9AD2-B0FB-E22F52FD89CB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50481" y="2508872"/>
            <a:ext cx="8243038" cy="18402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2215710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C0573D89-BB90-B5D3-5956-ED6DDB6853E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 8">
            <a:extLst>
              <a:ext uri="{FF2B5EF4-FFF2-40B4-BE49-F238E27FC236}">
                <a16:creationId xmlns:a16="http://schemas.microsoft.com/office/drawing/2014/main" id="{3D1A6FFC-FD0B-F8A3-A304-D98EAD2363E0}"/>
              </a:ext>
            </a:extLst>
          </p:cNvPr>
          <p:cNvPicPr/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3" name="Google Shape;313;p11">
            <a:extLst>
              <a:ext uri="{FF2B5EF4-FFF2-40B4-BE49-F238E27FC236}">
                <a16:creationId xmlns:a16="http://schemas.microsoft.com/office/drawing/2014/main" id="{245D6B8F-A640-7179-6289-091D5AC7A308}"/>
              </a:ext>
            </a:extLst>
          </p:cNvPr>
          <p:cNvSpPr txBox="1"/>
          <p:nvPr/>
        </p:nvSpPr>
        <p:spPr>
          <a:xfrm>
            <a:off x="951572" y="585220"/>
            <a:ext cx="7462091" cy="33852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0950" tIns="30467" rIns="60950" bIns="30467" anchor="t" anchorCtr="0">
            <a:spAutoFit/>
          </a:bodyPr>
          <a:lstStyle/>
          <a:p>
            <a:pPr algn="r" rtl="1"/>
            <a:r>
              <a:rPr lang="ar-MA" b="1" dirty="0">
                <a:solidFill>
                  <a:srgbClr val="A5A5A5"/>
                </a:solidFill>
                <a:latin typeface="Calibri"/>
                <a:ea typeface="Calibri"/>
                <a:cs typeface="Calibri"/>
                <a:sym typeface="Calibri"/>
              </a:rPr>
              <a:t>نصحح جماعة.</a:t>
            </a:r>
            <a:endParaRPr i="1" dirty="0">
              <a:solidFill>
                <a:srgbClr val="A5A5A5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5" name="Image 4">
            <a:extLst>
              <a:ext uri="{FF2B5EF4-FFF2-40B4-BE49-F238E27FC236}">
                <a16:creationId xmlns:a16="http://schemas.microsoft.com/office/drawing/2014/main" id="{837BE4BE-AD50-5877-AF18-A4027081A108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50481" y="2511413"/>
            <a:ext cx="8243038" cy="1835173"/>
          </a:xfrm>
          <a:prstGeom prst="rect">
            <a:avLst/>
          </a:prstGeom>
        </p:spPr>
      </p:pic>
      <p:sp>
        <p:nvSpPr>
          <p:cNvPr id="4" name="ZoneTexte 3">
            <a:extLst>
              <a:ext uri="{FF2B5EF4-FFF2-40B4-BE49-F238E27FC236}">
                <a16:creationId xmlns:a16="http://schemas.microsoft.com/office/drawing/2014/main" id="{40151B3D-DF58-15EF-D4D3-AE45566383D0}"/>
              </a:ext>
            </a:extLst>
          </p:cNvPr>
          <p:cNvSpPr txBox="1"/>
          <p:nvPr/>
        </p:nvSpPr>
        <p:spPr>
          <a:xfrm>
            <a:off x="2831690" y="3098565"/>
            <a:ext cx="385042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ar-MA" sz="2800" b="1" dirty="0">
                <a:solidFill>
                  <a:srgbClr val="0070C0"/>
                </a:solidFill>
              </a:rPr>
              <a:t>2</a:t>
            </a:r>
            <a:endParaRPr lang="fr-FR" sz="2800" b="1" dirty="0">
              <a:solidFill>
                <a:srgbClr val="0070C0"/>
              </a:solidFill>
            </a:endParaRPr>
          </a:p>
        </p:txBody>
      </p:sp>
      <p:sp>
        <p:nvSpPr>
          <p:cNvPr id="6" name="ZoneTexte 5">
            <a:extLst>
              <a:ext uri="{FF2B5EF4-FFF2-40B4-BE49-F238E27FC236}">
                <a16:creationId xmlns:a16="http://schemas.microsoft.com/office/drawing/2014/main" id="{793C63C0-BBD1-D368-6841-86A9304851D4}"/>
              </a:ext>
            </a:extLst>
          </p:cNvPr>
          <p:cNvSpPr txBox="1"/>
          <p:nvPr/>
        </p:nvSpPr>
        <p:spPr>
          <a:xfrm>
            <a:off x="4379479" y="3098565"/>
            <a:ext cx="385042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ar-MA" sz="2800" b="1" dirty="0">
                <a:solidFill>
                  <a:srgbClr val="0070C0"/>
                </a:solidFill>
              </a:rPr>
              <a:t>3</a:t>
            </a:r>
            <a:endParaRPr lang="fr-FR" sz="2800" b="1" dirty="0">
              <a:solidFill>
                <a:srgbClr val="0070C0"/>
              </a:solidFill>
            </a:endParaRPr>
          </a:p>
        </p:txBody>
      </p:sp>
      <p:sp>
        <p:nvSpPr>
          <p:cNvPr id="7" name="ZoneTexte 6">
            <a:extLst>
              <a:ext uri="{FF2B5EF4-FFF2-40B4-BE49-F238E27FC236}">
                <a16:creationId xmlns:a16="http://schemas.microsoft.com/office/drawing/2014/main" id="{503852D0-DF20-6069-3196-8A2AD3D7D26E}"/>
              </a:ext>
            </a:extLst>
          </p:cNvPr>
          <p:cNvSpPr txBox="1"/>
          <p:nvPr/>
        </p:nvSpPr>
        <p:spPr>
          <a:xfrm>
            <a:off x="5927268" y="3098565"/>
            <a:ext cx="385042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ar-MA" sz="2800" b="1" dirty="0">
                <a:solidFill>
                  <a:srgbClr val="0070C0"/>
                </a:solidFill>
              </a:rPr>
              <a:t>4</a:t>
            </a:r>
            <a:endParaRPr lang="fr-FR" sz="2800" b="1" dirty="0">
              <a:solidFill>
                <a:srgbClr val="0070C0"/>
              </a:solidFill>
            </a:endParaRPr>
          </a:p>
        </p:txBody>
      </p:sp>
      <p:sp>
        <p:nvSpPr>
          <p:cNvPr id="8" name="ZoneTexte 7">
            <a:extLst>
              <a:ext uri="{FF2B5EF4-FFF2-40B4-BE49-F238E27FC236}">
                <a16:creationId xmlns:a16="http://schemas.microsoft.com/office/drawing/2014/main" id="{5081C21F-9C51-9841-4EE1-ECE0CB091ACA}"/>
              </a:ext>
            </a:extLst>
          </p:cNvPr>
          <p:cNvSpPr txBox="1"/>
          <p:nvPr/>
        </p:nvSpPr>
        <p:spPr>
          <a:xfrm>
            <a:off x="7475057" y="3098565"/>
            <a:ext cx="385042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ar-MA" sz="2800" b="1" dirty="0">
                <a:solidFill>
                  <a:srgbClr val="0070C0"/>
                </a:solidFill>
              </a:rPr>
              <a:t>5</a:t>
            </a:r>
            <a:endParaRPr lang="fr-FR" sz="2800" b="1" dirty="0">
              <a:solidFill>
                <a:srgbClr val="0070C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8125627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2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2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  <p:bldP spid="6" grpId="0"/>
      <p:bldP spid="7" grpId="0"/>
      <p:bldP spid="8" grpId="0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B671686F-3394-D5AE-02A2-EDCCE2671A0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 6">
            <a:extLst>
              <a:ext uri="{FF2B5EF4-FFF2-40B4-BE49-F238E27FC236}">
                <a16:creationId xmlns:a16="http://schemas.microsoft.com/office/drawing/2014/main" id="{339E7926-8ADA-AB98-3110-DB8FEC765089}"/>
              </a:ext>
            </a:extLst>
          </p:cNvPr>
          <p:cNvPicPr/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3" name="Google Shape;313;p11">
            <a:extLst>
              <a:ext uri="{FF2B5EF4-FFF2-40B4-BE49-F238E27FC236}">
                <a16:creationId xmlns:a16="http://schemas.microsoft.com/office/drawing/2014/main" id="{7396E201-F43A-8C69-4F70-00786B408FBB}"/>
              </a:ext>
            </a:extLst>
          </p:cNvPr>
          <p:cNvSpPr txBox="1"/>
          <p:nvPr/>
        </p:nvSpPr>
        <p:spPr>
          <a:xfrm>
            <a:off x="1010567" y="614717"/>
            <a:ext cx="7462091" cy="33852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0950" tIns="30467" rIns="60950" bIns="30467" anchor="t" anchorCtr="0">
            <a:spAutoFit/>
          </a:bodyPr>
          <a:lstStyle/>
          <a:p>
            <a:pPr algn="r" rtl="1"/>
            <a:r>
              <a:rPr lang="ar-MA" b="1" dirty="0">
                <a:solidFill>
                  <a:srgbClr val="A5A5A5"/>
                </a:solidFill>
                <a:latin typeface="Calibri"/>
                <a:ea typeface="Calibri"/>
                <a:cs typeface="Calibri"/>
                <a:sym typeface="Calibri"/>
              </a:rPr>
              <a:t>النشاط 3: لونوا حسب المطلوب كما في المثال.</a:t>
            </a:r>
          </a:p>
        </p:txBody>
      </p:sp>
      <p:pic>
        <p:nvPicPr>
          <p:cNvPr id="6" name="Image 5">
            <a:extLst>
              <a:ext uri="{FF2B5EF4-FFF2-40B4-BE49-F238E27FC236}">
                <a16:creationId xmlns:a16="http://schemas.microsoft.com/office/drawing/2014/main" id="{97568096-1EC3-31CE-4D38-11962845C8B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56675" y="2096392"/>
            <a:ext cx="8230650" cy="30008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66865454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33533614-D2B1-5B22-AFEB-241FF113C25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Image 23">
            <a:extLst>
              <a:ext uri="{FF2B5EF4-FFF2-40B4-BE49-F238E27FC236}">
                <a16:creationId xmlns:a16="http://schemas.microsoft.com/office/drawing/2014/main" id="{59CDE2D4-422E-CD14-5850-67B3B3A1D4D6}"/>
              </a:ext>
            </a:extLst>
          </p:cNvPr>
          <p:cNvPicPr/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3" name="Google Shape;313;p11">
            <a:extLst>
              <a:ext uri="{FF2B5EF4-FFF2-40B4-BE49-F238E27FC236}">
                <a16:creationId xmlns:a16="http://schemas.microsoft.com/office/drawing/2014/main" id="{A31AFC9D-8EB9-C7DE-3C89-8B6C148C693D}"/>
              </a:ext>
            </a:extLst>
          </p:cNvPr>
          <p:cNvSpPr txBox="1"/>
          <p:nvPr/>
        </p:nvSpPr>
        <p:spPr>
          <a:xfrm>
            <a:off x="951572" y="585220"/>
            <a:ext cx="7462091" cy="33852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0950" tIns="30467" rIns="60950" bIns="30467" anchor="t" anchorCtr="0">
            <a:spAutoFit/>
          </a:bodyPr>
          <a:lstStyle/>
          <a:p>
            <a:pPr algn="r" rtl="1"/>
            <a:r>
              <a:rPr lang="ar-MA" b="1" dirty="0">
                <a:solidFill>
                  <a:srgbClr val="A5A5A5"/>
                </a:solidFill>
                <a:latin typeface="Calibri"/>
                <a:ea typeface="Calibri"/>
                <a:cs typeface="Calibri"/>
                <a:sym typeface="Calibri"/>
              </a:rPr>
              <a:t>نصحح جماعة.</a:t>
            </a:r>
            <a:endParaRPr i="1" dirty="0">
              <a:solidFill>
                <a:srgbClr val="A5A5A5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9" name="Image 8">
            <a:extLst>
              <a:ext uri="{FF2B5EF4-FFF2-40B4-BE49-F238E27FC236}">
                <a16:creationId xmlns:a16="http://schemas.microsoft.com/office/drawing/2014/main" id="{584FBA11-9C0F-452E-74A8-3D68A32EECD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56675" y="2096392"/>
            <a:ext cx="8230650" cy="3000814"/>
          </a:xfrm>
          <a:prstGeom prst="rect">
            <a:avLst/>
          </a:prstGeom>
        </p:spPr>
      </p:pic>
      <p:sp>
        <p:nvSpPr>
          <p:cNvPr id="10" name="Ellipse 9">
            <a:extLst>
              <a:ext uri="{FF2B5EF4-FFF2-40B4-BE49-F238E27FC236}">
                <a16:creationId xmlns:a16="http://schemas.microsoft.com/office/drawing/2014/main" id="{FB142396-E59A-7B82-D430-4CF9EC212759}"/>
              </a:ext>
            </a:extLst>
          </p:cNvPr>
          <p:cNvSpPr/>
          <p:nvPr/>
        </p:nvSpPr>
        <p:spPr>
          <a:xfrm>
            <a:off x="5506066" y="2979172"/>
            <a:ext cx="373625" cy="37362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1" name="Ellipse 10">
            <a:extLst>
              <a:ext uri="{FF2B5EF4-FFF2-40B4-BE49-F238E27FC236}">
                <a16:creationId xmlns:a16="http://schemas.microsoft.com/office/drawing/2014/main" id="{79852143-5704-E165-789A-85A6C7616BA4}"/>
              </a:ext>
            </a:extLst>
          </p:cNvPr>
          <p:cNvSpPr/>
          <p:nvPr/>
        </p:nvSpPr>
        <p:spPr>
          <a:xfrm>
            <a:off x="6071421" y="2989004"/>
            <a:ext cx="373625" cy="37362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2" name="Ellipse 11">
            <a:extLst>
              <a:ext uri="{FF2B5EF4-FFF2-40B4-BE49-F238E27FC236}">
                <a16:creationId xmlns:a16="http://schemas.microsoft.com/office/drawing/2014/main" id="{7FFE95B5-2570-79CC-4493-CEE4980AD33C}"/>
              </a:ext>
            </a:extLst>
          </p:cNvPr>
          <p:cNvSpPr/>
          <p:nvPr/>
        </p:nvSpPr>
        <p:spPr>
          <a:xfrm>
            <a:off x="5501151" y="3687504"/>
            <a:ext cx="373625" cy="37362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3" name="Ellipse 12">
            <a:extLst>
              <a:ext uri="{FF2B5EF4-FFF2-40B4-BE49-F238E27FC236}">
                <a16:creationId xmlns:a16="http://schemas.microsoft.com/office/drawing/2014/main" id="{A045759D-3279-C2AC-F587-08BD4A2388D5}"/>
              </a:ext>
            </a:extLst>
          </p:cNvPr>
          <p:cNvSpPr/>
          <p:nvPr/>
        </p:nvSpPr>
        <p:spPr>
          <a:xfrm>
            <a:off x="6076338" y="3697336"/>
            <a:ext cx="373625" cy="37362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4" name="Ellipse 13">
            <a:extLst>
              <a:ext uri="{FF2B5EF4-FFF2-40B4-BE49-F238E27FC236}">
                <a16:creationId xmlns:a16="http://schemas.microsoft.com/office/drawing/2014/main" id="{8395F7C1-A1AB-9775-449E-C83BF93444AB}"/>
              </a:ext>
            </a:extLst>
          </p:cNvPr>
          <p:cNvSpPr/>
          <p:nvPr/>
        </p:nvSpPr>
        <p:spPr>
          <a:xfrm>
            <a:off x="6641693" y="3687504"/>
            <a:ext cx="373625" cy="37362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5" name="Ellipse 14">
            <a:extLst>
              <a:ext uri="{FF2B5EF4-FFF2-40B4-BE49-F238E27FC236}">
                <a16:creationId xmlns:a16="http://schemas.microsoft.com/office/drawing/2014/main" id="{4B9142D6-130D-4163-E55F-FE1D80057AFA}"/>
              </a:ext>
            </a:extLst>
          </p:cNvPr>
          <p:cNvSpPr/>
          <p:nvPr/>
        </p:nvSpPr>
        <p:spPr>
          <a:xfrm>
            <a:off x="7216880" y="3687504"/>
            <a:ext cx="373625" cy="37362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6" name="Ellipse 15">
            <a:extLst>
              <a:ext uri="{FF2B5EF4-FFF2-40B4-BE49-F238E27FC236}">
                <a16:creationId xmlns:a16="http://schemas.microsoft.com/office/drawing/2014/main" id="{674FC7F6-BE7E-96F7-774E-BCC8FCF90969}"/>
              </a:ext>
            </a:extLst>
          </p:cNvPr>
          <p:cNvSpPr/>
          <p:nvPr/>
        </p:nvSpPr>
        <p:spPr>
          <a:xfrm>
            <a:off x="3578948" y="4387788"/>
            <a:ext cx="373625" cy="37362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7" name="Ellipse 16">
            <a:extLst>
              <a:ext uri="{FF2B5EF4-FFF2-40B4-BE49-F238E27FC236}">
                <a16:creationId xmlns:a16="http://schemas.microsoft.com/office/drawing/2014/main" id="{6A33AD59-DFF2-C4F2-0768-89A0E8364A25}"/>
              </a:ext>
            </a:extLst>
          </p:cNvPr>
          <p:cNvSpPr/>
          <p:nvPr/>
        </p:nvSpPr>
        <p:spPr>
          <a:xfrm>
            <a:off x="4144303" y="4387788"/>
            <a:ext cx="373625" cy="37362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8" name="Ellipse 17">
            <a:extLst>
              <a:ext uri="{FF2B5EF4-FFF2-40B4-BE49-F238E27FC236}">
                <a16:creationId xmlns:a16="http://schemas.microsoft.com/office/drawing/2014/main" id="{419607B1-E17E-69A6-CF80-0065B6918399}"/>
              </a:ext>
            </a:extLst>
          </p:cNvPr>
          <p:cNvSpPr/>
          <p:nvPr/>
        </p:nvSpPr>
        <p:spPr>
          <a:xfrm>
            <a:off x="4719490" y="4387788"/>
            <a:ext cx="373625" cy="37362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9" name="Ellipse 18">
            <a:extLst>
              <a:ext uri="{FF2B5EF4-FFF2-40B4-BE49-F238E27FC236}">
                <a16:creationId xmlns:a16="http://schemas.microsoft.com/office/drawing/2014/main" id="{E87732A0-B25C-D74B-9E33-B905E8DA8B7B}"/>
              </a:ext>
            </a:extLst>
          </p:cNvPr>
          <p:cNvSpPr/>
          <p:nvPr/>
        </p:nvSpPr>
        <p:spPr>
          <a:xfrm>
            <a:off x="5284845" y="4387788"/>
            <a:ext cx="373625" cy="37362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0" name="Ellipse 19">
            <a:extLst>
              <a:ext uri="{FF2B5EF4-FFF2-40B4-BE49-F238E27FC236}">
                <a16:creationId xmlns:a16="http://schemas.microsoft.com/office/drawing/2014/main" id="{7D92794A-EE3F-C54B-83D3-FA5DFABA08E9}"/>
              </a:ext>
            </a:extLst>
          </p:cNvPr>
          <p:cNvSpPr/>
          <p:nvPr/>
        </p:nvSpPr>
        <p:spPr>
          <a:xfrm>
            <a:off x="5855375" y="4388604"/>
            <a:ext cx="373625" cy="37362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1" name="Ellipse 20">
            <a:extLst>
              <a:ext uri="{FF2B5EF4-FFF2-40B4-BE49-F238E27FC236}">
                <a16:creationId xmlns:a16="http://schemas.microsoft.com/office/drawing/2014/main" id="{AB0C2B64-8DFB-08A9-3882-281023371681}"/>
              </a:ext>
            </a:extLst>
          </p:cNvPr>
          <p:cNvSpPr/>
          <p:nvPr/>
        </p:nvSpPr>
        <p:spPr>
          <a:xfrm>
            <a:off x="1641984" y="3675766"/>
            <a:ext cx="373625" cy="37362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2" name="Ellipse 21">
            <a:extLst>
              <a:ext uri="{FF2B5EF4-FFF2-40B4-BE49-F238E27FC236}">
                <a16:creationId xmlns:a16="http://schemas.microsoft.com/office/drawing/2014/main" id="{328CC171-69BA-2408-24F2-6ED17A553FFC}"/>
              </a:ext>
            </a:extLst>
          </p:cNvPr>
          <p:cNvSpPr/>
          <p:nvPr/>
        </p:nvSpPr>
        <p:spPr>
          <a:xfrm>
            <a:off x="2217171" y="3675766"/>
            <a:ext cx="373625" cy="37362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3" name="Ellipse 22">
            <a:extLst>
              <a:ext uri="{FF2B5EF4-FFF2-40B4-BE49-F238E27FC236}">
                <a16:creationId xmlns:a16="http://schemas.microsoft.com/office/drawing/2014/main" id="{1B280E62-678B-365E-1CBC-8CCA67E6FC26}"/>
              </a:ext>
            </a:extLst>
          </p:cNvPr>
          <p:cNvSpPr/>
          <p:nvPr/>
        </p:nvSpPr>
        <p:spPr>
          <a:xfrm>
            <a:off x="2782526" y="3675766"/>
            <a:ext cx="373625" cy="37362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78942237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0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8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1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6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9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2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5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6" fill="hold">
                      <p:stCondLst>
                        <p:cond delay="indefinite"/>
                      </p:stCondLst>
                      <p:childTnLst>
                        <p:par>
                          <p:cTn id="37" fill="hold">
                            <p:stCondLst>
                              <p:cond delay="0"/>
                            </p:stCondLst>
                            <p:childTnLst>
                              <p:par>
                                <p:cTn id="38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0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3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6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7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9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2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animBg="1"/>
      <p:bldP spid="11" grpId="0" animBg="1"/>
      <p:bldP spid="12" grpId="0" animBg="1"/>
      <p:bldP spid="13" grpId="0" animBg="1"/>
      <p:bldP spid="14" grpId="0" animBg="1"/>
      <p:bldP spid="15" grpId="0" animBg="1"/>
      <p:bldP spid="16" grpId="0" animBg="1"/>
      <p:bldP spid="17" grpId="0" animBg="1"/>
      <p:bldP spid="18" grpId="0" animBg="1"/>
      <p:bldP spid="19" grpId="0" animBg="1"/>
      <p:bldP spid="20" grpId="0" animBg="1"/>
      <p:bldP spid="21" grpId="0" animBg="1"/>
      <p:bldP spid="22" grpId="0" animBg="1"/>
      <p:bldP spid="23" grpId="0" animBg="1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66C7D7DF-0D79-34EA-4638-1E128E37B0E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 7">
            <a:extLst>
              <a:ext uri="{FF2B5EF4-FFF2-40B4-BE49-F238E27FC236}">
                <a16:creationId xmlns:a16="http://schemas.microsoft.com/office/drawing/2014/main" id="{E5EDB23D-C3D9-02AD-9C53-AB25DCD68159}"/>
              </a:ext>
            </a:extLst>
          </p:cNvPr>
          <p:cNvPicPr/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3" name="Google Shape;313;p11">
            <a:extLst>
              <a:ext uri="{FF2B5EF4-FFF2-40B4-BE49-F238E27FC236}">
                <a16:creationId xmlns:a16="http://schemas.microsoft.com/office/drawing/2014/main" id="{DAFB6775-66AB-504B-1078-C027A4C57BAA}"/>
              </a:ext>
            </a:extLst>
          </p:cNvPr>
          <p:cNvSpPr txBox="1"/>
          <p:nvPr/>
        </p:nvSpPr>
        <p:spPr>
          <a:xfrm>
            <a:off x="1010567" y="595053"/>
            <a:ext cx="7462091" cy="33852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0950" tIns="30467" rIns="60950" bIns="30467" anchor="t" anchorCtr="0">
            <a:spAutoFit/>
          </a:bodyPr>
          <a:lstStyle/>
          <a:p>
            <a:pPr algn="r" rtl="1"/>
            <a:r>
              <a:rPr lang="ar-MA" b="1" dirty="0">
                <a:solidFill>
                  <a:srgbClr val="A5A5A5"/>
                </a:solidFill>
                <a:latin typeface="Calibri"/>
                <a:ea typeface="Calibri"/>
                <a:cs typeface="Calibri"/>
                <a:sym typeface="Calibri"/>
              </a:rPr>
              <a:t>النشاط 4: أكملوا تفكيك الأعداد 2 و3 و4.</a:t>
            </a:r>
          </a:p>
        </p:txBody>
      </p:sp>
      <p:pic>
        <p:nvPicPr>
          <p:cNvPr id="5" name="Image 4">
            <a:extLst>
              <a:ext uri="{FF2B5EF4-FFF2-40B4-BE49-F238E27FC236}">
                <a16:creationId xmlns:a16="http://schemas.microsoft.com/office/drawing/2014/main" id="{EA8184A7-09B6-B5BE-C103-68D9A051798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53193" y="1567962"/>
            <a:ext cx="8398286" cy="41273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30839928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1B6FC6CA-C9F9-5FDC-A299-F28531315AF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6" name="Image 25">
            <a:extLst>
              <a:ext uri="{FF2B5EF4-FFF2-40B4-BE49-F238E27FC236}">
                <a16:creationId xmlns:a16="http://schemas.microsoft.com/office/drawing/2014/main" id="{25B64E0B-F8A7-1E67-37D7-EEA6ECB7A7CF}"/>
              </a:ext>
            </a:extLst>
          </p:cNvPr>
          <p:cNvPicPr/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3" name="Google Shape;313;p11">
            <a:extLst>
              <a:ext uri="{FF2B5EF4-FFF2-40B4-BE49-F238E27FC236}">
                <a16:creationId xmlns:a16="http://schemas.microsoft.com/office/drawing/2014/main" id="{74572CDB-C0ED-DE18-BEA9-984526BA5BDA}"/>
              </a:ext>
            </a:extLst>
          </p:cNvPr>
          <p:cNvSpPr txBox="1"/>
          <p:nvPr/>
        </p:nvSpPr>
        <p:spPr>
          <a:xfrm>
            <a:off x="951572" y="536060"/>
            <a:ext cx="7462091" cy="61552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0950" tIns="30467" rIns="60950" bIns="30467" anchor="t" anchorCtr="0">
            <a:spAutoFit/>
          </a:bodyPr>
          <a:lstStyle/>
          <a:p>
            <a:pPr algn="r" rtl="1"/>
            <a:r>
              <a:rPr lang="ar-MA" b="1" dirty="0">
                <a:solidFill>
                  <a:srgbClr val="A5A5A5"/>
                </a:solidFill>
                <a:latin typeface="Calibri"/>
                <a:ea typeface="Calibri"/>
                <a:cs typeface="Calibri"/>
                <a:sym typeface="Calibri"/>
              </a:rPr>
              <a:t>نصحح جماعة.</a:t>
            </a:r>
          </a:p>
          <a:p>
            <a:pPr algn="r" rtl="1"/>
            <a:r>
              <a:rPr lang="ar-MA" i="1" dirty="0">
                <a:solidFill>
                  <a:prstClr val="white">
                    <a:lumMod val="65000"/>
                  </a:prst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يمكن نمذجة التفكيك بالمكعبات.</a:t>
            </a:r>
            <a:endParaRPr kumimoji="0" lang="ar-MA" i="1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pic>
        <p:nvPicPr>
          <p:cNvPr id="4" name="Image 3">
            <a:extLst>
              <a:ext uri="{FF2B5EF4-FFF2-40B4-BE49-F238E27FC236}">
                <a16:creationId xmlns:a16="http://schemas.microsoft.com/office/drawing/2014/main" id="{C6DBCDF2-E7AA-9271-B5A9-8EDA35445354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53193" y="1568616"/>
            <a:ext cx="8398286" cy="4126008"/>
          </a:xfrm>
          <a:prstGeom prst="rect">
            <a:avLst/>
          </a:prstGeom>
        </p:spPr>
      </p:pic>
      <p:sp>
        <p:nvSpPr>
          <p:cNvPr id="7" name="ZoneTexte 6">
            <a:extLst>
              <a:ext uri="{FF2B5EF4-FFF2-40B4-BE49-F238E27FC236}">
                <a16:creationId xmlns:a16="http://schemas.microsoft.com/office/drawing/2014/main" id="{5BA5A758-097F-8F51-8C53-E36540BDC953}"/>
              </a:ext>
            </a:extLst>
          </p:cNvPr>
          <p:cNvSpPr txBox="1"/>
          <p:nvPr/>
        </p:nvSpPr>
        <p:spPr>
          <a:xfrm>
            <a:off x="2261419" y="3187054"/>
            <a:ext cx="385042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ar-MA" sz="2800" dirty="0">
                <a:solidFill>
                  <a:srgbClr val="0070C0"/>
                </a:solidFill>
              </a:rPr>
              <a:t>1</a:t>
            </a:r>
            <a:endParaRPr lang="fr-FR" sz="2800" dirty="0">
              <a:solidFill>
                <a:srgbClr val="0070C0"/>
              </a:solidFill>
            </a:endParaRPr>
          </a:p>
        </p:txBody>
      </p:sp>
      <p:sp>
        <p:nvSpPr>
          <p:cNvPr id="5" name="ZoneTexte 4">
            <a:extLst>
              <a:ext uri="{FF2B5EF4-FFF2-40B4-BE49-F238E27FC236}">
                <a16:creationId xmlns:a16="http://schemas.microsoft.com/office/drawing/2014/main" id="{C728CA8C-301B-8889-F3FC-5DDE902A1BD5}"/>
              </a:ext>
            </a:extLst>
          </p:cNvPr>
          <p:cNvSpPr txBox="1"/>
          <p:nvPr/>
        </p:nvSpPr>
        <p:spPr>
          <a:xfrm>
            <a:off x="4970206" y="3187054"/>
            <a:ext cx="385042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ar-MA" sz="2800" dirty="0">
                <a:solidFill>
                  <a:srgbClr val="0070C0"/>
                </a:solidFill>
              </a:rPr>
              <a:t>2</a:t>
            </a:r>
            <a:endParaRPr lang="fr-FR" sz="2800" dirty="0">
              <a:solidFill>
                <a:srgbClr val="0070C0"/>
              </a:solidFill>
            </a:endParaRPr>
          </a:p>
        </p:txBody>
      </p:sp>
      <p:sp>
        <p:nvSpPr>
          <p:cNvPr id="6" name="ZoneTexte 5">
            <a:extLst>
              <a:ext uri="{FF2B5EF4-FFF2-40B4-BE49-F238E27FC236}">
                <a16:creationId xmlns:a16="http://schemas.microsoft.com/office/drawing/2014/main" id="{20E651D4-2E1D-E2E2-0217-E1C11BF7B2CE}"/>
              </a:ext>
            </a:extLst>
          </p:cNvPr>
          <p:cNvSpPr txBox="1"/>
          <p:nvPr/>
        </p:nvSpPr>
        <p:spPr>
          <a:xfrm>
            <a:off x="7678993" y="3187054"/>
            <a:ext cx="385042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ar-MA" sz="2800" dirty="0">
                <a:solidFill>
                  <a:srgbClr val="0070C0"/>
                </a:solidFill>
              </a:rPr>
              <a:t>1</a:t>
            </a:r>
            <a:endParaRPr lang="fr-FR" sz="2800" dirty="0">
              <a:solidFill>
                <a:srgbClr val="0070C0"/>
              </a:solidFill>
            </a:endParaRPr>
          </a:p>
        </p:txBody>
      </p:sp>
      <p:sp>
        <p:nvSpPr>
          <p:cNvPr id="8" name="ZoneTexte 7">
            <a:extLst>
              <a:ext uri="{FF2B5EF4-FFF2-40B4-BE49-F238E27FC236}">
                <a16:creationId xmlns:a16="http://schemas.microsoft.com/office/drawing/2014/main" id="{6F2DC96A-03BD-8894-A58B-55D75E4DE508}"/>
              </a:ext>
            </a:extLst>
          </p:cNvPr>
          <p:cNvSpPr txBox="1"/>
          <p:nvPr/>
        </p:nvSpPr>
        <p:spPr>
          <a:xfrm>
            <a:off x="2261419" y="4883119"/>
            <a:ext cx="385042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ar-MA" sz="2800" dirty="0">
                <a:solidFill>
                  <a:srgbClr val="0070C0"/>
                </a:solidFill>
              </a:rPr>
              <a:t>3</a:t>
            </a:r>
            <a:endParaRPr lang="fr-FR" sz="2800" dirty="0">
              <a:solidFill>
                <a:srgbClr val="0070C0"/>
              </a:solidFill>
            </a:endParaRPr>
          </a:p>
        </p:txBody>
      </p:sp>
      <p:sp>
        <p:nvSpPr>
          <p:cNvPr id="24" name="ZoneTexte 23">
            <a:extLst>
              <a:ext uri="{FF2B5EF4-FFF2-40B4-BE49-F238E27FC236}">
                <a16:creationId xmlns:a16="http://schemas.microsoft.com/office/drawing/2014/main" id="{0C560295-8111-12EA-A435-1C91C3A5A48F}"/>
              </a:ext>
            </a:extLst>
          </p:cNvPr>
          <p:cNvSpPr txBox="1"/>
          <p:nvPr/>
        </p:nvSpPr>
        <p:spPr>
          <a:xfrm>
            <a:off x="4970206" y="4883119"/>
            <a:ext cx="385042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ar-MA" sz="2800" dirty="0">
                <a:solidFill>
                  <a:srgbClr val="0070C0"/>
                </a:solidFill>
              </a:rPr>
              <a:t>2</a:t>
            </a:r>
            <a:endParaRPr lang="fr-FR" sz="2800" dirty="0">
              <a:solidFill>
                <a:srgbClr val="0070C0"/>
              </a:solidFill>
            </a:endParaRPr>
          </a:p>
        </p:txBody>
      </p:sp>
      <p:sp>
        <p:nvSpPr>
          <p:cNvPr id="25" name="ZoneTexte 24">
            <a:extLst>
              <a:ext uri="{FF2B5EF4-FFF2-40B4-BE49-F238E27FC236}">
                <a16:creationId xmlns:a16="http://schemas.microsoft.com/office/drawing/2014/main" id="{55AB99B5-2207-E013-8C08-4AA58583EED2}"/>
              </a:ext>
            </a:extLst>
          </p:cNvPr>
          <p:cNvSpPr txBox="1"/>
          <p:nvPr/>
        </p:nvSpPr>
        <p:spPr>
          <a:xfrm>
            <a:off x="7678993" y="4883119"/>
            <a:ext cx="385042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ar-MA" sz="2800" dirty="0">
                <a:solidFill>
                  <a:srgbClr val="0070C0"/>
                </a:solidFill>
              </a:rPr>
              <a:t>1</a:t>
            </a:r>
            <a:endParaRPr lang="fr-FR" sz="2800" dirty="0">
              <a:solidFill>
                <a:srgbClr val="0070C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9381789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2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2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7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32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  <p:bldP spid="5" grpId="0"/>
      <p:bldP spid="6" grpId="0"/>
      <p:bldP spid="8" grpId="0"/>
      <p:bldP spid="24" grpId="0"/>
      <p:bldP spid="25" grpId="0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EC75046-D327-CBCA-5FD2-A7FA559A8F8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2">
            <a:extLst>
              <a:ext uri="{FF2B5EF4-FFF2-40B4-BE49-F238E27FC236}">
                <a16:creationId xmlns:a16="http://schemas.microsoft.com/office/drawing/2014/main" id="{2F7C0A4B-B1F0-ABD8-D604-EA7FE6BF6440}"/>
              </a:ext>
            </a:extLst>
          </p:cNvPr>
          <p:cNvSpPr/>
          <p:nvPr/>
        </p:nvSpPr>
        <p:spPr>
          <a:xfrm>
            <a:off x="0" y="0"/>
            <a:ext cx="9144000" cy="6858000"/>
          </a:xfrm>
          <a:custGeom>
            <a:avLst/>
            <a:gdLst/>
            <a:ahLst/>
            <a:cxnLst/>
            <a:rect l="l" t="t" r="r" b="b"/>
            <a:pathLst>
              <a:path w="18288000" h="10287000">
                <a:moveTo>
                  <a:pt x="0" y="0"/>
                </a:moveTo>
                <a:lnTo>
                  <a:pt x="18288000" y="0"/>
                </a:lnTo>
                <a:lnTo>
                  <a:pt x="18288000" y="10287000"/>
                </a:lnTo>
                <a:lnTo>
                  <a:pt x="0" y="10287000"/>
                </a:lnTo>
                <a:lnTo>
                  <a:pt x="0" y="0"/>
                </a:lnTo>
                <a:close/>
              </a:path>
            </a:pathLst>
          </a:custGeom>
          <a:blipFill>
            <a:blip r:embed="rId2"/>
            <a:stretch>
              <a:fillRect t="-5555" b="-5555"/>
            </a:stretch>
          </a:blipFill>
        </p:spPr>
        <p:txBody>
          <a:bodyPr/>
          <a:lstStyle/>
          <a:p>
            <a:pPr defTabSz="609660">
              <a:defRPr/>
            </a:pPr>
            <a:endParaRPr lang="fr-MA" sz="900">
              <a:solidFill>
                <a:prstClr val="black"/>
              </a:solidFill>
              <a:latin typeface="Dosis" pitchFamily="2" charset="0"/>
            </a:endParaRPr>
          </a:p>
        </p:txBody>
      </p:sp>
      <p:sp>
        <p:nvSpPr>
          <p:cNvPr id="2" name="Ellipse 62">
            <a:extLst>
              <a:ext uri="{FF2B5EF4-FFF2-40B4-BE49-F238E27FC236}">
                <a16:creationId xmlns:a16="http://schemas.microsoft.com/office/drawing/2014/main" id="{D7083EFA-4931-086B-4677-E559A61DC1E2}"/>
              </a:ext>
            </a:extLst>
          </p:cNvPr>
          <p:cNvSpPr/>
          <p:nvPr/>
        </p:nvSpPr>
        <p:spPr>
          <a:xfrm>
            <a:off x="1196648" y="46409"/>
            <a:ext cx="6811591" cy="6811591"/>
          </a:xfrm>
          <a:prstGeom prst="ellipse">
            <a:avLst/>
          </a:prstGeom>
          <a:solidFill>
            <a:srgbClr val="D6E9EA">
              <a:alpha val="34000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sp>
        <p:nvSpPr>
          <p:cNvPr id="6" name="TextBox 6">
            <a:extLst>
              <a:ext uri="{FF2B5EF4-FFF2-40B4-BE49-F238E27FC236}">
                <a16:creationId xmlns:a16="http://schemas.microsoft.com/office/drawing/2014/main" id="{F7B80CEE-EF85-F60C-1AD2-8ACD885F40CD}"/>
              </a:ext>
            </a:extLst>
          </p:cNvPr>
          <p:cNvSpPr txBox="1"/>
          <p:nvPr/>
        </p:nvSpPr>
        <p:spPr>
          <a:xfrm>
            <a:off x="1380413" y="2667001"/>
            <a:ext cx="6444063" cy="677943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 defTabSz="609660" rtl="1">
              <a:lnSpc>
                <a:spcPts val="5486"/>
              </a:lnSpc>
              <a:defRPr/>
            </a:pPr>
            <a:r>
              <a:rPr lang="ar-MA" sz="4400" b="1" dirty="0">
                <a:solidFill>
                  <a:srgbClr val="106585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2. أنشطة المراجعة </a:t>
            </a:r>
            <a:endParaRPr lang="ar-MA" sz="1600" b="1" dirty="0">
              <a:solidFill>
                <a:srgbClr val="106585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9" name="Freeform 9">
            <a:extLst>
              <a:ext uri="{FF2B5EF4-FFF2-40B4-BE49-F238E27FC236}">
                <a16:creationId xmlns:a16="http://schemas.microsoft.com/office/drawing/2014/main" id="{BF2ECF8D-27F6-F5DD-06AA-B8EF94921124}"/>
              </a:ext>
            </a:extLst>
          </p:cNvPr>
          <p:cNvSpPr/>
          <p:nvPr/>
        </p:nvSpPr>
        <p:spPr>
          <a:xfrm>
            <a:off x="21422" y="5622104"/>
            <a:ext cx="995130" cy="1233596"/>
          </a:xfrm>
          <a:custGeom>
            <a:avLst/>
            <a:gdLst/>
            <a:ahLst/>
            <a:cxnLst/>
            <a:rect l="l" t="t" r="r" b="b"/>
            <a:pathLst>
              <a:path w="2684349" h="3327606">
                <a:moveTo>
                  <a:pt x="0" y="0"/>
                </a:moveTo>
                <a:lnTo>
                  <a:pt x="2684349" y="0"/>
                </a:lnTo>
                <a:lnTo>
                  <a:pt x="2684349" y="3327606"/>
                </a:lnTo>
                <a:lnTo>
                  <a:pt x="0" y="3327606"/>
                </a:lnTo>
                <a:lnTo>
                  <a:pt x="0" y="0"/>
                </a:lnTo>
                <a:close/>
              </a:path>
            </a:pathLst>
          </a:custGeo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 l="-157570" t="-6438" b="-44673"/>
            </a:stretch>
          </a:blipFill>
          <a:ln>
            <a:noFill/>
          </a:ln>
        </p:spPr>
        <p:txBody>
          <a:bodyPr/>
          <a:lstStyle/>
          <a:p>
            <a:pPr defTabSz="609660">
              <a:defRPr/>
            </a:pPr>
            <a:endParaRPr lang="fr-MA" sz="428">
              <a:solidFill>
                <a:prstClr val="black"/>
              </a:solidFill>
              <a:latin typeface="Dosis" pitchFamily="2" charset="0"/>
            </a:endParaRPr>
          </a:p>
        </p:txBody>
      </p:sp>
      <p:sp>
        <p:nvSpPr>
          <p:cNvPr id="10" name="Freeform 10">
            <a:extLst>
              <a:ext uri="{FF2B5EF4-FFF2-40B4-BE49-F238E27FC236}">
                <a16:creationId xmlns:a16="http://schemas.microsoft.com/office/drawing/2014/main" id="{858F755C-F06E-B25D-B5A7-240CFF8CEA67}"/>
              </a:ext>
            </a:extLst>
          </p:cNvPr>
          <p:cNvSpPr/>
          <p:nvPr/>
        </p:nvSpPr>
        <p:spPr>
          <a:xfrm>
            <a:off x="7804156" y="5463344"/>
            <a:ext cx="1318425" cy="1392356"/>
          </a:xfrm>
          <a:custGeom>
            <a:avLst/>
            <a:gdLst/>
            <a:ahLst/>
            <a:cxnLst/>
            <a:rect l="l" t="t" r="r" b="b"/>
            <a:pathLst>
              <a:path w="3556432" h="3755858">
                <a:moveTo>
                  <a:pt x="0" y="0"/>
                </a:moveTo>
                <a:lnTo>
                  <a:pt x="3556432" y="0"/>
                </a:lnTo>
                <a:lnTo>
                  <a:pt x="3556432" y="3755858"/>
                </a:lnTo>
                <a:lnTo>
                  <a:pt x="0" y="3755858"/>
                </a:lnTo>
                <a:lnTo>
                  <a:pt x="0" y="0"/>
                </a:lnTo>
                <a:close/>
              </a:path>
            </a:pathLst>
          </a:custGeo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 l="-4351" t="-332" r="-93446" b="-41558"/>
            </a:stretch>
          </a:blipFill>
        </p:spPr>
        <p:txBody>
          <a:bodyPr/>
          <a:lstStyle/>
          <a:p>
            <a:pPr defTabSz="609660">
              <a:defRPr/>
            </a:pPr>
            <a:endParaRPr lang="fr-MA" sz="428">
              <a:solidFill>
                <a:prstClr val="black"/>
              </a:solidFill>
              <a:latin typeface="Dosis" pitchFamily="2" charset="0"/>
            </a:endParaRPr>
          </a:p>
        </p:txBody>
      </p:sp>
      <p:pic>
        <p:nvPicPr>
          <p:cNvPr id="7" name="Image 6">
            <a:extLst>
              <a:ext uri="{FF2B5EF4-FFF2-40B4-BE49-F238E27FC236}">
                <a16:creationId xmlns:a16="http://schemas.microsoft.com/office/drawing/2014/main" id="{D62EDB2A-6233-5C90-30CD-C686608A86D1}"/>
              </a:ext>
            </a:extLst>
          </p:cNvPr>
          <p:cNvPicPr>
            <a:picLocks noChangeAspect="1"/>
          </p:cNvPicPr>
          <p:nvPr/>
        </p:nvPicPr>
        <p:blipFill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3923928" y="3717032"/>
            <a:ext cx="1472378" cy="21885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2125385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3" name="Image 32">
            <a:extLst>
              <a:ext uri="{FF2B5EF4-FFF2-40B4-BE49-F238E27FC236}">
                <a16:creationId xmlns:a16="http://schemas.microsoft.com/office/drawing/2014/main" id="{E2CC31C0-7DE8-D83D-E821-170A23E43BB1}"/>
              </a:ext>
            </a:extLst>
          </p:cNvPr>
          <p:cNvPicPr/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graphicFrame>
        <p:nvGraphicFramePr>
          <p:cNvPr id="23" name="think-cell data - do not delete" hidden="1">
            <a:extLst>
              <a:ext uri="{FF2B5EF4-FFF2-40B4-BE49-F238E27FC236}">
                <a16:creationId xmlns:a16="http://schemas.microsoft.com/office/drawing/2014/main" id="{8616CE26-0DA5-D986-849B-9EC635F5EE6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059" y="1059"/>
          <a:ext cx="1059" cy="105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2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616CE26-0DA5-D986-849B-9EC635F5EE6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059" y="1059"/>
                        <a:ext cx="1059" cy="105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1" name="Groupe 10">
            <a:extLst>
              <a:ext uri="{FF2B5EF4-FFF2-40B4-BE49-F238E27FC236}">
                <a16:creationId xmlns:a16="http://schemas.microsoft.com/office/drawing/2014/main" id="{B04C4723-0832-395A-B2CF-FDEF6E3422E5}"/>
              </a:ext>
            </a:extLst>
          </p:cNvPr>
          <p:cNvGrpSpPr/>
          <p:nvPr/>
        </p:nvGrpSpPr>
        <p:grpSpPr>
          <a:xfrm>
            <a:off x="312517" y="227367"/>
            <a:ext cx="8518967" cy="5721914"/>
            <a:chOff x="312517" y="227366"/>
            <a:chExt cx="8518967" cy="6196583"/>
          </a:xfrm>
        </p:grpSpPr>
        <p:sp>
          <p:nvSpPr>
            <p:cNvPr id="12" name="Rectangle : coins arrondis 11">
              <a:extLst>
                <a:ext uri="{FF2B5EF4-FFF2-40B4-BE49-F238E27FC236}">
                  <a16:creationId xmlns:a16="http://schemas.microsoft.com/office/drawing/2014/main" id="{521521AE-4D95-B8E0-D95B-D5F26EA1422F}"/>
                </a:ext>
              </a:extLst>
            </p:cNvPr>
            <p:cNvSpPr/>
            <p:nvPr/>
          </p:nvSpPr>
          <p:spPr>
            <a:xfrm>
              <a:off x="312517" y="636608"/>
              <a:ext cx="8518967" cy="5787341"/>
            </a:xfrm>
            <a:prstGeom prst="roundRect">
              <a:avLst>
                <a:gd name="adj" fmla="val 2439"/>
              </a:avLst>
            </a:prstGeom>
            <a:solidFill>
              <a:srgbClr val="F4FAFA"/>
            </a:solidFill>
            <a:ln w="28575">
              <a:solidFill>
                <a:srgbClr val="005664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  <p:sp>
          <p:nvSpPr>
            <p:cNvPr id="14" name="Freeform 7">
              <a:extLst>
                <a:ext uri="{FF2B5EF4-FFF2-40B4-BE49-F238E27FC236}">
                  <a16:creationId xmlns:a16="http://schemas.microsoft.com/office/drawing/2014/main" id="{12E4E2BB-4F98-9EE0-C5E8-353633F4FD72}"/>
                </a:ext>
              </a:extLst>
            </p:cNvPr>
            <p:cNvSpPr/>
            <p:nvPr/>
          </p:nvSpPr>
          <p:spPr>
            <a:xfrm>
              <a:off x="625110" y="227366"/>
              <a:ext cx="622415" cy="562981"/>
            </a:xfrm>
            <a:custGeom>
              <a:avLst/>
              <a:gdLst/>
              <a:ahLst/>
              <a:cxnLst/>
              <a:rect l="l" t="t" r="r" b="b"/>
              <a:pathLst>
                <a:path w="1239167" h="1189600">
                  <a:moveTo>
                    <a:pt x="0" y="0"/>
                  </a:moveTo>
                  <a:lnTo>
                    <a:pt x="1239167" y="0"/>
                  </a:lnTo>
                  <a:lnTo>
                    <a:pt x="1239167" y="1189600"/>
                  </a:lnTo>
                  <a:lnTo>
                    <a:pt x="0" y="1189600"/>
                  </a:lnTo>
                  <a:lnTo>
                    <a:pt x="0" y="0"/>
                  </a:lnTo>
                  <a:close/>
                </a:path>
              </a:pathLst>
            </a:custGeom>
            <a:blipFill>
              <a:blip r:embed="rId6">
                <a:extLst>
                  <a:ext uri="{96DAC541-7B7A-43D3-8B79-37D633B846F1}">
                    <asvg:svgBlip xmlns:asvg="http://schemas.microsoft.com/office/drawing/2016/SVG/main" r:embed="rId7"/>
                  </a:ext>
                </a:extLst>
              </a:blip>
              <a:stretch>
                <a:fillRect/>
              </a:stretch>
            </a:blipFill>
          </p:spPr>
          <p:txBody>
            <a:bodyPr/>
            <a:lstStyle/>
            <a:p>
              <a:endParaRPr lang="fr-MA" sz="428" dirty="0">
                <a:latin typeface="Dosis" pitchFamily="2" charset="0"/>
              </a:endParaRPr>
            </a:p>
          </p:txBody>
        </p:sp>
        <p:sp>
          <p:nvSpPr>
            <p:cNvPr id="16" name="Rectangle : coins arrondis 15">
              <a:extLst>
                <a:ext uri="{FF2B5EF4-FFF2-40B4-BE49-F238E27FC236}">
                  <a16:creationId xmlns:a16="http://schemas.microsoft.com/office/drawing/2014/main" id="{7D9FAAEA-8042-FC08-9E0D-CFD54ACD4918}"/>
                </a:ext>
              </a:extLst>
            </p:cNvPr>
            <p:cNvSpPr/>
            <p:nvPr/>
          </p:nvSpPr>
          <p:spPr>
            <a:xfrm flipH="1" flipV="1">
              <a:off x="2253541" y="368699"/>
              <a:ext cx="4636919" cy="532201"/>
            </a:xfrm>
            <a:prstGeom prst="roundRect">
              <a:avLst>
                <a:gd name="adj" fmla="val 50000"/>
              </a:avLst>
            </a:prstGeom>
            <a:solidFill>
              <a:srgbClr val="005664"/>
            </a:solidFill>
            <a:ln w="13658" cap="flat">
              <a:solidFill>
                <a:srgbClr val="005664"/>
              </a:soli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r-FR" sz="36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ir Strip Arabic" panose="02000500000000000000" pitchFamily="2" charset="-78"/>
                <a:cs typeface="Air Strip Arabic" panose="02000500000000000000" pitchFamily="2" charset="-78"/>
              </a:endParaRPr>
            </a:p>
          </p:txBody>
        </p:sp>
      </p:grpSp>
      <p:sp>
        <p:nvSpPr>
          <p:cNvPr id="17" name="Ellipse 16">
            <a:extLst>
              <a:ext uri="{FF2B5EF4-FFF2-40B4-BE49-F238E27FC236}">
                <a16:creationId xmlns:a16="http://schemas.microsoft.com/office/drawing/2014/main" id="{84A1EA02-FEA0-ECF6-2E10-88DD56FBF757}"/>
              </a:ext>
            </a:extLst>
          </p:cNvPr>
          <p:cNvSpPr/>
          <p:nvPr/>
        </p:nvSpPr>
        <p:spPr>
          <a:xfrm>
            <a:off x="7174889" y="1614406"/>
            <a:ext cx="1151822" cy="1151822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sp>
        <p:nvSpPr>
          <p:cNvPr id="18" name="Ellipse 17">
            <a:extLst>
              <a:ext uri="{FF2B5EF4-FFF2-40B4-BE49-F238E27FC236}">
                <a16:creationId xmlns:a16="http://schemas.microsoft.com/office/drawing/2014/main" id="{A9791B8E-F478-BFE1-671F-D2529FD0BDF1}"/>
              </a:ext>
            </a:extLst>
          </p:cNvPr>
          <p:cNvSpPr/>
          <p:nvPr/>
        </p:nvSpPr>
        <p:spPr>
          <a:xfrm>
            <a:off x="7174889" y="3067961"/>
            <a:ext cx="1151822" cy="1151822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9" name="Ellipse 18">
            <a:extLst>
              <a:ext uri="{FF2B5EF4-FFF2-40B4-BE49-F238E27FC236}">
                <a16:creationId xmlns:a16="http://schemas.microsoft.com/office/drawing/2014/main" id="{AE55CBFA-6ECE-120A-6C16-388B8DE3D3CF}"/>
              </a:ext>
            </a:extLst>
          </p:cNvPr>
          <p:cNvSpPr/>
          <p:nvPr/>
        </p:nvSpPr>
        <p:spPr>
          <a:xfrm>
            <a:off x="7174889" y="4521515"/>
            <a:ext cx="1151822" cy="1151822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20" name="Graphique 19">
            <a:extLst>
              <a:ext uri="{FF2B5EF4-FFF2-40B4-BE49-F238E27FC236}">
                <a16:creationId xmlns:a16="http://schemas.microsoft.com/office/drawing/2014/main" id="{C6AE5DDE-D6F9-39C7-C0C3-0B8A07CE2E02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 flipH="1">
            <a:off x="7257431" y="3213466"/>
            <a:ext cx="856766" cy="817895"/>
          </a:xfrm>
          <a:prstGeom prst="rect">
            <a:avLst/>
          </a:prstGeom>
        </p:spPr>
      </p:pic>
      <p:sp>
        <p:nvSpPr>
          <p:cNvPr id="21" name="Freeform 7">
            <a:extLst>
              <a:ext uri="{FF2B5EF4-FFF2-40B4-BE49-F238E27FC236}">
                <a16:creationId xmlns:a16="http://schemas.microsoft.com/office/drawing/2014/main" id="{539BDA4D-467F-4C0A-A10C-1D013A5D9799}"/>
              </a:ext>
            </a:extLst>
          </p:cNvPr>
          <p:cNvSpPr/>
          <p:nvPr/>
        </p:nvSpPr>
        <p:spPr>
          <a:xfrm>
            <a:off x="7464538" y="1898419"/>
            <a:ext cx="622415" cy="562981"/>
          </a:xfrm>
          <a:custGeom>
            <a:avLst/>
            <a:gdLst/>
            <a:ahLst/>
            <a:cxnLst/>
            <a:rect l="l" t="t" r="r" b="b"/>
            <a:pathLst>
              <a:path w="1239167" h="1189600">
                <a:moveTo>
                  <a:pt x="0" y="0"/>
                </a:moveTo>
                <a:lnTo>
                  <a:pt x="1239167" y="0"/>
                </a:lnTo>
                <a:lnTo>
                  <a:pt x="1239167" y="1189600"/>
                </a:lnTo>
                <a:lnTo>
                  <a:pt x="0" y="1189600"/>
                </a:lnTo>
                <a:lnTo>
                  <a:pt x="0" y="0"/>
                </a:lnTo>
                <a:close/>
              </a:path>
            </a:pathLst>
          </a:custGeom>
          <a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fr-MA" sz="428" dirty="0">
              <a:latin typeface="Dosis" pitchFamily="2" charset="0"/>
            </a:endParaRPr>
          </a:p>
        </p:txBody>
      </p:sp>
      <p:sp>
        <p:nvSpPr>
          <p:cNvPr id="22" name="Forme libre : forme 21">
            <a:extLst>
              <a:ext uri="{FF2B5EF4-FFF2-40B4-BE49-F238E27FC236}">
                <a16:creationId xmlns:a16="http://schemas.microsoft.com/office/drawing/2014/main" id="{7A5D440B-7684-07A7-F9D5-CFE97465E01E}"/>
              </a:ext>
            </a:extLst>
          </p:cNvPr>
          <p:cNvSpPr/>
          <p:nvPr/>
        </p:nvSpPr>
        <p:spPr>
          <a:xfrm>
            <a:off x="6389870" y="2118952"/>
            <a:ext cx="545261" cy="142730"/>
          </a:xfrm>
          <a:custGeom>
            <a:avLst/>
            <a:gdLst>
              <a:gd name="connsiteX0" fmla="*/ 200331 w 1140257"/>
              <a:gd name="connsiteY0" fmla="*/ 182213 h 298478"/>
              <a:gd name="connsiteX1" fmla="*/ 291200 w 1140257"/>
              <a:gd name="connsiteY1" fmla="*/ 234982 h 298478"/>
              <a:gd name="connsiteX2" fmla="*/ 318346 w 1140257"/>
              <a:gd name="connsiteY2" fmla="*/ 252031 h 298478"/>
              <a:gd name="connsiteX3" fmla="*/ 337967 w 1140257"/>
              <a:gd name="connsiteY3" fmla="*/ 287941 h 298478"/>
              <a:gd name="connsiteX4" fmla="*/ 296534 w 1140257"/>
              <a:gd name="connsiteY4" fmla="*/ 293179 h 298478"/>
              <a:gd name="connsiteX5" fmla="*/ 254338 w 1140257"/>
              <a:gd name="connsiteY5" fmla="*/ 275558 h 298478"/>
              <a:gd name="connsiteX6" fmla="*/ 69172 w 1140257"/>
              <a:gd name="connsiteY6" fmla="*/ 184975 h 298478"/>
              <a:gd name="connsiteX7" fmla="*/ 21737 w 1140257"/>
              <a:gd name="connsiteY7" fmla="*/ 157543 h 298478"/>
              <a:gd name="connsiteX8" fmla="*/ 26595 w 1140257"/>
              <a:gd name="connsiteY8" fmla="*/ 94488 h 298478"/>
              <a:gd name="connsiteX9" fmla="*/ 163088 w 1140257"/>
              <a:gd name="connsiteY9" fmla="*/ 29337 h 298478"/>
              <a:gd name="connsiteX10" fmla="*/ 221858 w 1140257"/>
              <a:gd name="connsiteY10" fmla="*/ 3810 h 298478"/>
              <a:gd name="connsiteX11" fmla="*/ 259196 w 1140257"/>
              <a:gd name="connsiteY11" fmla="*/ 0 h 298478"/>
              <a:gd name="connsiteX12" fmla="*/ 234145 w 1140257"/>
              <a:gd name="connsiteY12" fmla="*/ 39243 h 298478"/>
              <a:gd name="connsiteX13" fmla="*/ 132799 w 1140257"/>
              <a:gd name="connsiteY13" fmla="*/ 92773 h 298478"/>
              <a:gd name="connsiteX14" fmla="*/ 97651 w 1140257"/>
              <a:gd name="connsiteY14" fmla="*/ 120872 h 298478"/>
              <a:gd name="connsiteX15" fmla="*/ 147943 w 1140257"/>
              <a:gd name="connsiteY15" fmla="*/ 126397 h 298478"/>
              <a:gd name="connsiteX16" fmla="*/ 532658 w 1140257"/>
              <a:gd name="connsiteY16" fmla="*/ 146685 h 298478"/>
              <a:gd name="connsiteX17" fmla="*/ 1091395 w 1140257"/>
              <a:gd name="connsiteY17" fmla="*/ 175831 h 298478"/>
              <a:gd name="connsiteX18" fmla="*/ 1140258 w 1140257"/>
              <a:gd name="connsiteY18" fmla="*/ 187547 h 298478"/>
              <a:gd name="connsiteX19" fmla="*/ 1086632 w 1140257"/>
              <a:gd name="connsiteY19" fmla="*/ 206978 h 298478"/>
              <a:gd name="connsiteX20" fmla="*/ 811550 w 1140257"/>
              <a:gd name="connsiteY20" fmla="*/ 198120 h 298478"/>
              <a:gd name="connsiteX21" fmla="*/ 220238 w 1140257"/>
              <a:gd name="connsiteY21" fmla="*/ 178213 h 298478"/>
              <a:gd name="connsiteX22" fmla="*/ 200331 w 1140257"/>
              <a:gd name="connsiteY22" fmla="*/ 182213 h 2984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1140257" h="298478">
                <a:moveTo>
                  <a:pt x="200331" y="182213"/>
                </a:moveTo>
                <a:cubicBezTo>
                  <a:pt x="236431" y="203168"/>
                  <a:pt x="263863" y="218980"/>
                  <a:pt x="291200" y="234982"/>
                </a:cubicBezTo>
                <a:cubicBezTo>
                  <a:pt x="300439" y="240411"/>
                  <a:pt x="309868" y="245650"/>
                  <a:pt x="318346" y="252031"/>
                </a:cubicBezTo>
                <a:cubicBezTo>
                  <a:pt x="330252" y="260985"/>
                  <a:pt x="347778" y="269938"/>
                  <a:pt x="337967" y="287941"/>
                </a:cubicBezTo>
                <a:cubicBezTo>
                  <a:pt x="328728" y="304895"/>
                  <a:pt x="310630" y="297275"/>
                  <a:pt x="296534" y="293179"/>
                </a:cubicBezTo>
                <a:cubicBezTo>
                  <a:pt x="281960" y="288988"/>
                  <a:pt x="268054" y="282226"/>
                  <a:pt x="254338" y="275558"/>
                </a:cubicBezTo>
                <a:cubicBezTo>
                  <a:pt x="192521" y="245650"/>
                  <a:pt x="130703" y="215551"/>
                  <a:pt x="69172" y="184975"/>
                </a:cubicBezTo>
                <a:cubicBezTo>
                  <a:pt x="52789" y="176879"/>
                  <a:pt x="36120" y="168592"/>
                  <a:pt x="21737" y="157543"/>
                </a:cubicBezTo>
                <a:cubicBezTo>
                  <a:pt x="-8648" y="134207"/>
                  <a:pt x="-7314" y="112014"/>
                  <a:pt x="26595" y="94488"/>
                </a:cubicBezTo>
                <a:cubicBezTo>
                  <a:pt x="71363" y="71342"/>
                  <a:pt x="117463" y="50768"/>
                  <a:pt x="163088" y="29337"/>
                </a:cubicBezTo>
                <a:cubicBezTo>
                  <a:pt x="182424" y="20288"/>
                  <a:pt x="201760" y="10668"/>
                  <a:pt x="221858" y="3810"/>
                </a:cubicBezTo>
                <a:cubicBezTo>
                  <a:pt x="233288" y="-95"/>
                  <a:pt x="246337" y="1143"/>
                  <a:pt x="259196" y="0"/>
                </a:cubicBezTo>
                <a:cubicBezTo>
                  <a:pt x="262625" y="26670"/>
                  <a:pt x="247480" y="32290"/>
                  <a:pt x="234145" y="39243"/>
                </a:cubicBezTo>
                <a:cubicBezTo>
                  <a:pt x="200331" y="57055"/>
                  <a:pt x="166517" y="74771"/>
                  <a:pt x="132799" y="92773"/>
                </a:cubicBezTo>
                <a:cubicBezTo>
                  <a:pt x="120892" y="99155"/>
                  <a:pt x="109367" y="106108"/>
                  <a:pt x="97651" y="120872"/>
                </a:cubicBezTo>
                <a:cubicBezTo>
                  <a:pt x="114416" y="122777"/>
                  <a:pt x="131084" y="125539"/>
                  <a:pt x="147943" y="126397"/>
                </a:cubicBezTo>
                <a:cubicBezTo>
                  <a:pt x="276150" y="133350"/>
                  <a:pt x="404452" y="140113"/>
                  <a:pt x="532658" y="146685"/>
                </a:cubicBezTo>
                <a:cubicBezTo>
                  <a:pt x="718872" y="156305"/>
                  <a:pt x="905181" y="165640"/>
                  <a:pt x="1091395" y="175831"/>
                </a:cubicBezTo>
                <a:cubicBezTo>
                  <a:pt x="1106540" y="176689"/>
                  <a:pt x="1121399" y="182880"/>
                  <a:pt x="1140258" y="187547"/>
                </a:cubicBezTo>
                <a:cubicBezTo>
                  <a:pt x="1123208" y="213169"/>
                  <a:pt x="1103396" y="207454"/>
                  <a:pt x="1086632" y="206978"/>
                </a:cubicBezTo>
                <a:cubicBezTo>
                  <a:pt x="994906" y="204597"/>
                  <a:pt x="903276" y="201168"/>
                  <a:pt x="811550" y="198120"/>
                </a:cubicBezTo>
                <a:cubicBezTo>
                  <a:pt x="614478" y="191452"/>
                  <a:pt x="417310" y="184785"/>
                  <a:pt x="220238" y="178213"/>
                </a:cubicBezTo>
                <a:cubicBezTo>
                  <a:pt x="217381" y="178308"/>
                  <a:pt x="214428" y="179451"/>
                  <a:pt x="200331" y="182213"/>
                </a:cubicBezTo>
                <a:close/>
              </a:path>
            </a:pathLst>
          </a:custGeom>
          <a:solidFill>
            <a:srgbClr val="1E3F48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fr-FR"/>
          </a:p>
        </p:txBody>
      </p:sp>
      <p:sp>
        <p:nvSpPr>
          <p:cNvPr id="24" name="Forme libre : forme 23">
            <a:extLst>
              <a:ext uri="{FF2B5EF4-FFF2-40B4-BE49-F238E27FC236}">
                <a16:creationId xmlns:a16="http://schemas.microsoft.com/office/drawing/2014/main" id="{00D0D59D-7954-D6D4-97EF-85D7D958BCE0}"/>
              </a:ext>
            </a:extLst>
          </p:cNvPr>
          <p:cNvSpPr/>
          <p:nvPr/>
        </p:nvSpPr>
        <p:spPr>
          <a:xfrm>
            <a:off x="6389870" y="3572507"/>
            <a:ext cx="545261" cy="142730"/>
          </a:xfrm>
          <a:custGeom>
            <a:avLst/>
            <a:gdLst>
              <a:gd name="connsiteX0" fmla="*/ 200331 w 1140257"/>
              <a:gd name="connsiteY0" fmla="*/ 182213 h 298478"/>
              <a:gd name="connsiteX1" fmla="*/ 291200 w 1140257"/>
              <a:gd name="connsiteY1" fmla="*/ 234982 h 298478"/>
              <a:gd name="connsiteX2" fmla="*/ 318346 w 1140257"/>
              <a:gd name="connsiteY2" fmla="*/ 252031 h 298478"/>
              <a:gd name="connsiteX3" fmla="*/ 337967 w 1140257"/>
              <a:gd name="connsiteY3" fmla="*/ 287941 h 298478"/>
              <a:gd name="connsiteX4" fmla="*/ 296534 w 1140257"/>
              <a:gd name="connsiteY4" fmla="*/ 293179 h 298478"/>
              <a:gd name="connsiteX5" fmla="*/ 254338 w 1140257"/>
              <a:gd name="connsiteY5" fmla="*/ 275558 h 298478"/>
              <a:gd name="connsiteX6" fmla="*/ 69172 w 1140257"/>
              <a:gd name="connsiteY6" fmla="*/ 184975 h 298478"/>
              <a:gd name="connsiteX7" fmla="*/ 21737 w 1140257"/>
              <a:gd name="connsiteY7" fmla="*/ 157543 h 298478"/>
              <a:gd name="connsiteX8" fmla="*/ 26595 w 1140257"/>
              <a:gd name="connsiteY8" fmla="*/ 94488 h 298478"/>
              <a:gd name="connsiteX9" fmla="*/ 163088 w 1140257"/>
              <a:gd name="connsiteY9" fmla="*/ 29337 h 298478"/>
              <a:gd name="connsiteX10" fmla="*/ 221858 w 1140257"/>
              <a:gd name="connsiteY10" fmla="*/ 3810 h 298478"/>
              <a:gd name="connsiteX11" fmla="*/ 259196 w 1140257"/>
              <a:gd name="connsiteY11" fmla="*/ 0 h 298478"/>
              <a:gd name="connsiteX12" fmla="*/ 234145 w 1140257"/>
              <a:gd name="connsiteY12" fmla="*/ 39243 h 298478"/>
              <a:gd name="connsiteX13" fmla="*/ 132799 w 1140257"/>
              <a:gd name="connsiteY13" fmla="*/ 92773 h 298478"/>
              <a:gd name="connsiteX14" fmla="*/ 97651 w 1140257"/>
              <a:gd name="connsiteY14" fmla="*/ 120872 h 298478"/>
              <a:gd name="connsiteX15" fmla="*/ 147943 w 1140257"/>
              <a:gd name="connsiteY15" fmla="*/ 126397 h 298478"/>
              <a:gd name="connsiteX16" fmla="*/ 532658 w 1140257"/>
              <a:gd name="connsiteY16" fmla="*/ 146685 h 298478"/>
              <a:gd name="connsiteX17" fmla="*/ 1091395 w 1140257"/>
              <a:gd name="connsiteY17" fmla="*/ 175831 h 298478"/>
              <a:gd name="connsiteX18" fmla="*/ 1140258 w 1140257"/>
              <a:gd name="connsiteY18" fmla="*/ 187547 h 298478"/>
              <a:gd name="connsiteX19" fmla="*/ 1086632 w 1140257"/>
              <a:gd name="connsiteY19" fmla="*/ 206978 h 298478"/>
              <a:gd name="connsiteX20" fmla="*/ 811550 w 1140257"/>
              <a:gd name="connsiteY20" fmla="*/ 198120 h 298478"/>
              <a:gd name="connsiteX21" fmla="*/ 220238 w 1140257"/>
              <a:gd name="connsiteY21" fmla="*/ 178213 h 298478"/>
              <a:gd name="connsiteX22" fmla="*/ 200331 w 1140257"/>
              <a:gd name="connsiteY22" fmla="*/ 182213 h 2984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1140257" h="298478">
                <a:moveTo>
                  <a:pt x="200331" y="182213"/>
                </a:moveTo>
                <a:cubicBezTo>
                  <a:pt x="236431" y="203168"/>
                  <a:pt x="263863" y="218980"/>
                  <a:pt x="291200" y="234982"/>
                </a:cubicBezTo>
                <a:cubicBezTo>
                  <a:pt x="300439" y="240411"/>
                  <a:pt x="309868" y="245650"/>
                  <a:pt x="318346" y="252031"/>
                </a:cubicBezTo>
                <a:cubicBezTo>
                  <a:pt x="330252" y="260985"/>
                  <a:pt x="347778" y="269938"/>
                  <a:pt x="337967" y="287941"/>
                </a:cubicBezTo>
                <a:cubicBezTo>
                  <a:pt x="328728" y="304895"/>
                  <a:pt x="310630" y="297275"/>
                  <a:pt x="296534" y="293179"/>
                </a:cubicBezTo>
                <a:cubicBezTo>
                  <a:pt x="281960" y="288988"/>
                  <a:pt x="268054" y="282226"/>
                  <a:pt x="254338" y="275558"/>
                </a:cubicBezTo>
                <a:cubicBezTo>
                  <a:pt x="192521" y="245650"/>
                  <a:pt x="130703" y="215551"/>
                  <a:pt x="69172" y="184975"/>
                </a:cubicBezTo>
                <a:cubicBezTo>
                  <a:pt x="52789" y="176879"/>
                  <a:pt x="36120" y="168592"/>
                  <a:pt x="21737" y="157543"/>
                </a:cubicBezTo>
                <a:cubicBezTo>
                  <a:pt x="-8648" y="134207"/>
                  <a:pt x="-7314" y="112014"/>
                  <a:pt x="26595" y="94488"/>
                </a:cubicBezTo>
                <a:cubicBezTo>
                  <a:pt x="71363" y="71342"/>
                  <a:pt x="117463" y="50768"/>
                  <a:pt x="163088" y="29337"/>
                </a:cubicBezTo>
                <a:cubicBezTo>
                  <a:pt x="182424" y="20288"/>
                  <a:pt x="201760" y="10668"/>
                  <a:pt x="221858" y="3810"/>
                </a:cubicBezTo>
                <a:cubicBezTo>
                  <a:pt x="233288" y="-95"/>
                  <a:pt x="246337" y="1143"/>
                  <a:pt x="259196" y="0"/>
                </a:cubicBezTo>
                <a:cubicBezTo>
                  <a:pt x="262625" y="26670"/>
                  <a:pt x="247480" y="32290"/>
                  <a:pt x="234145" y="39243"/>
                </a:cubicBezTo>
                <a:cubicBezTo>
                  <a:pt x="200331" y="57055"/>
                  <a:pt x="166517" y="74771"/>
                  <a:pt x="132799" y="92773"/>
                </a:cubicBezTo>
                <a:cubicBezTo>
                  <a:pt x="120892" y="99155"/>
                  <a:pt x="109367" y="106108"/>
                  <a:pt x="97651" y="120872"/>
                </a:cubicBezTo>
                <a:cubicBezTo>
                  <a:pt x="114416" y="122777"/>
                  <a:pt x="131084" y="125539"/>
                  <a:pt x="147943" y="126397"/>
                </a:cubicBezTo>
                <a:cubicBezTo>
                  <a:pt x="276150" y="133350"/>
                  <a:pt x="404452" y="140113"/>
                  <a:pt x="532658" y="146685"/>
                </a:cubicBezTo>
                <a:cubicBezTo>
                  <a:pt x="718872" y="156305"/>
                  <a:pt x="905181" y="165640"/>
                  <a:pt x="1091395" y="175831"/>
                </a:cubicBezTo>
                <a:cubicBezTo>
                  <a:pt x="1106540" y="176689"/>
                  <a:pt x="1121399" y="182880"/>
                  <a:pt x="1140258" y="187547"/>
                </a:cubicBezTo>
                <a:cubicBezTo>
                  <a:pt x="1123208" y="213169"/>
                  <a:pt x="1103396" y="207454"/>
                  <a:pt x="1086632" y="206978"/>
                </a:cubicBezTo>
                <a:cubicBezTo>
                  <a:pt x="994906" y="204597"/>
                  <a:pt x="903276" y="201168"/>
                  <a:pt x="811550" y="198120"/>
                </a:cubicBezTo>
                <a:cubicBezTo>
                  <a:pt x="614478" y="191452"/>
                  <a:pt x="417310" y="184785"/>
                  <a:pt x="220238" y="178213"/>
                </a:cubicBezTo>
                <a:cubicBezTo>
                  <a:pt x="217381" y="178308"/>
                  <a:pt x="214428" y="179451"/>
                  <a:pt x="200331" y="182213"/>
                </a:cubicBezTo>
                <a:close/>
              </a:path>
            </a:pathLst>
          </a:custGeom>
          <a:solidFill>
            <a:srgbClr val="1E3F48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fr-FR"/>
          </a:p>
        </p:txBody>
      </p:sp>
      <p:sp>
        <p:nvSpPr>
          <p:cNvPr id="25" name="Forme libre : forme 24">
            <a:extLst>
              <a:ext uri="{FF2B5EF4-FFF2-40B4-BE49-F238E27FC236}">
                <a16:creationId xmlns:a16="http://schemas.microsoft.com/office/drawing/2014/main" id="{03B2BC96-11A0-F6EC-BFA4-C1AD08BCFBB5}"/>
              </a:ext>
            </a:extLst>
          </p:cNvPr>
          <p:cNvSpPr/>
          <p:nvPr/>
        </p:nvSpPr>
        <p:spPr>
          <a:xfrm>
            <a:off x="6389870" y="5026061"/>
            <a:ext cx="545261" cy="142730"/>
          </a:xfrm>
          <a:custGeom>
            <a:avLst/>
            <a:gdLst>
              <a:gd name="connsiteX0" fmla="*/ 200331 w 1140257"/>
              <a:gd name="connsiteY0" fmla="*/ 182213 h 298478"/>
              <a:gd name="connsiteX1" fmla="*/ 291200 w 1140257"/>
              <a:gd name="connsiteY1" fmla="*/ 234982 h 298478"/>
              <a:gd name="connsiteX2" fmla="*/ 318346 w 1140257"/>
              <a:gd name="connsiteY2" fmla="*/ 252031 h 298478"/>
              <a:gd name="connsiteX3" fmla="*/ 337967 w 1140257"/>
              <a:gd name="connsiteY3" fmla="*/ 287941 h 298478"/>
              <a:gd name="connsiteX4" fmla="*/ 296534 w 1140257"/>
              <a:gd name="connsiteY4" fmla="*/ 293179 h 298478"/>
              <a:gd name="connsiteX5" fmla="*/ 254338 w 1140257"/>
              <a:gd name="connsiteY5" fmla="*/ 275558 h 298478"/>
              <a:gd name="connsiteX6" fmla="*/ 69172 w 1140257"/>
              <a:gd name="connsiteY6" fmla="*/ 184975 h 298478"/>
              <a:gd name="connsiteX7" fmla="*/ 21737 w 1140257"/>
              <a:gd name="connsiteY7" fmla="*/ 157543 h 298478"/>
              <a:gd name="connsiteX8" fmla="*/ 26595 w 1140257"/>
              <a:gd name="connsiteY8" fmla="*/ 94488 h 298478"/>
              <a:gd name="connsiteX9" fmla="*/ 163088 w 1140257"/>
              <a:gd name="connsiteY9" fmla="*/ 29337 h 298478"/>
              <a:gd name="connsiteX10" fmla="*/ 221858 w 1140257"/>
              <a:gd name="connsiteY10" fmla="*/ 3810 h 298478"/>
              <a:gd name="connsiteX11" fmla="*/ 259196 w 1140257"/>
              <a:gd name="connsiteY11" fmla="*/ 0 h 298478"/>
              <a:gd name="connsiteX12" fmla="*/ 234145 w 1140257"/>
              <a:gd name="connsiteY12" fmla="*/ 39243 h 298478"/>
              <a:gd name="connsiteX13" fmla="*/ 132799 w 1140257"/>
              <a:gd name="connsiteY13" fmla="*/ 92773 h 298478"/>
              <a:gd name="connsiteX14" fmla="*/ 97651 w 1140257"/>
              <a:gd name="connsiteY14" fmla="*/ 120872 h 298478"/>
              <a:gd name="connsiteX15" fmla="*/ 147943 w 1140257"/>
              <a:gd name="connsiteY15" fmla="*/ 126397 h 298478"/>
              <a:gd name="connsiteX16" fmla="*/ 532658 w 1140257"/>
              <a:gd name="connsiteY16" fmla="*/ 146685 h 298478"/>
              <a:gd name="connsiteX17" fmla="*/ 1091395 w 1140257"/>
              <a:gd name="connsiteY17" fmla="*/ 175831 h 298478"/>
              <a:gd name="connsiteX18" fmla="*/ 1140258 w 1140257"/>
              <a:gd name="connsiteY18" fmla="*/ 187547 h 298478"/>
              <a:gd name="connsiteX19" fmla="*/ 1086632 w 1140257"/>
              <a:gd name="connsiteY19" fmla="*/ 206978 h 298478"/>
              <a:gd name="connsiteX20" fmla="*/ 811550 w 1140257"/>
              <a:gd name="connsiteY20" fmla="*/ 198120 h 298478"/>
              <a:gd name="connsiteX21" fmla="*/ 220238 w 1140257"/>
              <a:gd name="connsiteY21" fmla="*/ 178213 h 298478"/>
              <a:gd name="connsiteX22" fmla="*/ 200331 w 1140257"/>
              <a:gd name="connsiteY22" fmla="*/ 182213 h 2984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1140257" h="298478">
                <a:moveTo>
                  <a:pt x="200331" y="182213"/>
                </a:moveTo>
                <a:cubicBezTo>
                  <a:pt x="236431" y="203168"/>
                  <a:pt x="263863" y="218980"/>
                  <a:pt x="291200" y="234982"/>
                </a:cubicBezTo>
                <a:cubicBezTo>
                  <a:pt x="300439" y="240411"/>
                  <a:pt x="309868" y="245650"/>
                  <a:pt x="318346" y="252031"/>
                </a:cubicBezTo>
                <a:cubicBezTo>
                  <a:pt x="330252" y="260985"/>
                  <a:pt x="347778" y="269938"/>
                  <a:pt x="337967" y="287941"/>
                </a:cubicBezTo>
                <a:cubicBezTo>
                  <a:pt x="328728" y="304895"/>
                  <a:pt x="310630" y="297275"/>
                  <a:pt x="296534" y="293179"/>
                </a:cubicBezTo>
                <a:cubicBezTo>
                  <a:pt x="281960" y="288988"/>
                  <a:pt x="268054" y="282226"/>
                  <a:pt x="254338" y="275558"/>
                </a:cubicBezTo>
                <a:cubicBezTo>
                  <a:pt x="192521" y="245650"/>
                  <a:pt x="130703" y="215551"/>
                  <a:pt x="69172" y="184975"/>
                </a:cubicBezTo>
                <a:cubicBezTo>
                  <a:pt x="52789" y="176879"/>
                  <a:pt x="36120" y="168592"/>
                  <a:pt x="21737" y="157543"/>
                </a:cubicBezTo>
                <a:cubicBezTo>
                  <a:pt x="-8648" y="134207"/>
                  <a:pt x="-7314" y="112014"/>
                  <a:pt x="26595" y="94488"/>
                </a:cubicBezTo>
                <a:cubicBezTo>
                  <a:pt x="71363" y="71342"/>
                  <a:pt x="117463" y="50768"/>
                  <a:pt x="163088" y="29337"/>
                </a:cubicBezTo>
                <a:cubicBezTo>
                  <a:pt x="182424" y="20288"/>
                  <a:pt x="201760" y="10668"/>
                  <a:pt x="221858" y="3810"/>
                </a:cubicBezTo>
                <a:cubicBezTo>
                  <a:pt x="233288" y="-95"/>
                  <a:pt x="246337" y="1143"/>
                  <a:pt x="259196" y="0"/>
                </a:cubicBezTo>
                <a:cubicBezTo>
                  <a:pt x="262625" y="26670"/>
                  <a:pt x="247480" y="32290"/>
                  <a:pt x="234145" y="39243"/>
                </a:cubicBezTo>
                <a:cubicBezTo>
                  <a:pt x="200331" y="57055"/>
                  <a:pt x="166517" y="74771"/>
                  <a:pt x="132799" y="92773"/>
                </a:cubicBezTo>
                <a:cubicBezTo>
                  <a:pt x="120892" y="99155"/>
                  <a:pt x="109367" y="106108"/>
                  <a:pt x="97651" y="120872"/>
                </a:cubicBezTo>
                <a:cubicBezTo>
                  <a:pt x="114416" y="122777"/>
                  <a:pt x="131084" y="125539"/>
                  <a:pt x="147943" y="126397"/>
                </a:cubicBezTo>
                <a:cubicBezTo>
                  <a:pt x="276150" y="133350"/>
                  <a:pt x="404452" y="140113"/>
                  <a:pt x="532658" y="146685"/>
                </a:cubicBezTo>
                <a:cubicBezTo>
                  <a:pt x="718872" y="156305"/>
                  <a:pt x="905181" y="165640"/>
                  <a:pt x="1091395" y="175831"/>
                </a:cubicBezTo>
                <a:cubicBezTo>
                  <a:pt x="1106540" y="176689"/>
                  <a:pt x="1121399" y="182880"/>
                  <a:pt x="1140258" y="187547"/>
                </a:cubicBezTo>
                <a:cubicBezTo>
                  <a:pt x="1123208" y="213169"/>
                  <a:pt x="1103396" y="207454"/>
                  <a:pt x="1086632" y="206978"/>
                </a:cubicBezTo>
                <a:cubicBezTo>
                  <a:pt x="994906" y="204597"/>
                  <a:pt x="903276" y="201168"/>
                  <a:pt x="811550" y="198120"/>
                </a:cubicBezTo>
                <a:cubicBezTo>
                  <a:pt x="614478" y="191452"/>
                  <a:pt x="417310" y="184785"/>
                  <a:pt x="220238" y="178213"/>
                </a:cubicBezTo>
                <a:cubicBezTo>
                  <a:pt x="217381" y="178308"/>
                  <a:pt x="214428" y="179451"/>
                  <a:pt x="200331" y="182213"/>
                </a:cubicBezTo>
                <a:close/>
              </a:path>
            </a:pathLst>
          </a:custGeom>
          <a:solidFill>
            <a:srgbClr val="1E3F48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fr-FR"/>
          </a:p>
        </p:txBody>
      </p:sp>
      <p:sp>
        <p:nvSpPr>
          <p:cNvPr id="26" name="Rectangle : coins arrondis 25">
            <a:extLst>
              <a:ext uri="{FF2B5EF4-FFF2-40B4-BE49-F238E27FC236}">
                <a16:creationId xmlns:a16="http://schemas.microsoft.com/office/drawing/2014/main" id="{DA4788B6-8049-A04E-CFB5-29D8260EDEC9}"/>
              </a:ext>
            </a:extLst>
          </p:cNvPr>
          <p:cNvSpPr/>
          <p:nvPr/>
        </p:nvSpPr>
        <p:spPr>
          <a:xfrm>
            <a:off x="817289" y="1949824"/>
            <a:ext cx="4973911" cy="480987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0" lang="ar-MA" sz="2200" b="1" i="0" u="none" strike="noStrike" kern="1200" cap="none" spc="0" normalizeH="0" baseline="0" noProof="0" dirty="0">
                <a:ln>
                  <a:noFill/>
                </a:ln>
                <a:solidFill>
                  <a:srgbClr val="1F497D">
                    <a:lumMod val="50000"/>
                  </a:srgbClr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شرائح خاصة بالأستاذ(ة)</a:t>
            </a:r>
            <a:endParaRPr kumimoji="0" lang="fr-FR" sz="2200" b="1" i="0" u="none" strike="noStrike" kern="1200" cap="none" spc="0" normalizeH="0" baseline="0" noProof="0" dirty="0">
              <a:ln>
                <a:noFill/>
              </a:ln>
              <a:solidFill>
                <a:srgbClr val="1F497D">
                  <a:lumMod val="50000"/>
                </a:srgbClr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7" name="Rectangle : coins arrondis 26">
            <a:extLst>
              <a:ext uri="{FF2B5EF4-FFF2-40B4-BE49-F238E27FC236}">
                <a16:creationId xmlns:a16="http://schemas.microsoft.com/office/drawing/2014/main" id="{BDA5165D-B66C-8AB4-7F2E-C24C879C4443}"/>
              </a:ext>
            </a:extLst>
          </p:cNvPr>
          <p:cNvSpPr/>
          <p:nvPr/>
        </p:nvSpPr>
        <p:spPr>
          <a:xfrm>
            <a:off x="817289" y="4856933"/>
            <a:ext cx="4973911" cy="480987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096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ar-AE" sz="2200" b="1" dirty="0">
                <a:solidFill>
                  <a:srgbClr val="1F497D">
                    <a:lumMod val="50000"/>
                  </a:srgb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أمثلة على التوجيهات </a:t>
            </a:r>
            <a:r>
              <a:rPr lang="ar-MA" sz="2200" b="1" dirty="0">
                <a:solidFill>
                  <a:srgbClr val="1F497D">
                    <a:lumMod val="50000"/>
                  </a:srgb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للأستاذ(ة)</a:t>
            </a:r>
            <a:endParaRPr lang="en-US" sz="2200" b="1" dirty="0">
              <a:solidFill>
                <a:srgbClr val="1F497D">
                  <a:lumMod val="50000"/>
                </a:srgbClr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8" name="Rectangle : coins arrondis 27">
            <a:extLst>
              <a:ext uri="{FF2B5EF4-FFF2-40B4-BE49-F238E27FC236}">
                <a16:creationId xmlns:a16="http://schemas.microsoft.com/office/drawing/2014/main" id="{F35DCF3D-3173-69AF-50AD-7F7B005BF988}"/>
              </a:ext>
            </a:extLst>
          </p:cNvPr>
          <p:cNvSpPr/>
          <p:nvPr/>
        </p:nvSpPr>
        <p:spPr>
          <a:xfrm>
            <a:off x="467544" y="3403379"/>
            <a:ext cx="5832647" cy="480987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ar-MA" sz="2000" b="1" dirty="0">
                <a:solidFill>
                  <a:srgbClr val="1F497D">
                    <a:lumMod val="50000"/>
                  </a:srgb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إرشادات للشروحات والتعليمات التي يجب على الأستاذ(ة) قولها</a:t>
            </a:r>
          </a:p>
        </p:txBody>
      </p:sp>
      <p:sp>
        <p:nvSpPr>
          <p:cNvPr id="29" name="ZoneTexte 5">
            <a:extLst>
              <a:ext uri="{FF2B5EF4-FFF2-40B4-BE49-F238E27FC236}">
                <a16:creationId xmlns:a16="http://schemas.microsoft.com/office/drawing/2014/main" id="{18E341A8-25B5-CCD0-4102-D1DE21A48A7E}"/>
              </a:ext>
            </a:extLst>
          </p:cNvPr>
          <p:cNvSpPr txBox="1"/>
          <p:nvPr/>
        </p:nvSpPr>
        <p:spPr>
          <a:xfrm>
            <a:off x="7398676" y="277065"/>
            <a:ext cx="143280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b="1" i="1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rPr>
              <a:t>خاص بالأستاذ</a:t>
            </a:r>
            <a:endParaRPr kumimoji="0" lang="fr-MA" b="1" i="1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50000"/>
                  <a:lumOff val="50000"/>
                </a:prstClr>
              </a:solidFill>
              <a:effectLst/>
              <a:uLnTx/>
              <a:uFillTx/>
              <a:latin typeface="Microsoft Uighur" panose="02000000000000000000" pitchFamily="2" charset="-78"/>
              <a:cs typeface="Microsoft Uighur" panose="02000000000000000000" pitchFamily="2" charset="-78"/>
            </a:endParaRPr>
          </a:p>
        </p:txBody>
      </p:sp>
      <p:sp>
        <p:nvSpPr>
          <p:cNvPr id="30" name="TextBox 9">
            <a:extLst>
              <a:ext uri="{FF2B5EF4-FFF2-40B4-BE49-F238E27FC236}">
                <a16:creationId xmlns:a16="http://schemas.microsoft.com/office/drawing/2014/main" id="{2998D8A0-373E-CBC3-F39E-C85374E71F84}"/>
              </a:ext>
            </a:extLst>
          </p:cNvPr>
          <p:cNvSpPr txBox="1"/>
          <p:nvPr/>
        </p:nvSpPr>
        <p:spPr>
          <a:xfrm>
            <a:off x="2713389" y="505129"/>
            <a:ext cx="3717222" cy="296748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2075"/>
              </a:lnSpc>
            </a:pPr>
            <a:r>
              <a:rPr lang="ar-MA" sz="2800" b="1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توجيهات لاستعمال العرض </a:t>
            </a:r>
          </a:p>
        </p:txBody>
      </p:sp>
      <p:sp>
        <p:nvSpPr>
          <p:cNvPr id="31" name="ZoneTexte 22">
            <a:extLst>
              <a:ext uri="{FF2B5EF4-FFF2-40B4-BE49-F238E27FC236}">
                <a16:creationId xmlns:a16="http://schemas.microsoft.com/office/drawing/2014/main" id="{88659CF0-BA6E-C878-75EA-55C10A2045E0}"/>
              </a:ext>
            </a:extLst>
          </p:cNvPr>
          <p:cNvSpPr txBox="1"/>
          <p:nvPr/>
        </p:nvSpPr>
        <p:spPr>
          <a:xfrm>
            <a:off x="7174889" y="4743446"/>
            <a:ext cx="1062797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60963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1600" i="1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يقرأ المدرس الأرقام بإنشاد</a:t>
            </a:r>
            <a:endParaRPr kumimoji="0" lang="fr-FR" sz="1600" i="1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32" name="Freeform 2">
            <a:extLst>
              <a:ext uri="{FF2B5EF4-FFF2-40B4-BE49-F238E27FC236}">
                <a16:creationId xmlns:a16="http://schemas.microsoft.com/office/drawing/2014/main" id="{32B7E36B-BF0C-EFFA-0A37-FCC534E30EF9}"/>
              </a:ext>
            </a:extLst>
          </p:cNvPr>
          <p:cNvSpPr/>
          <p:nvPr/>
        </p:nvSpPr>
        <p:spPr>
          <a:xfrm>
            <a:off x="-1229" y="5415088"/>
            <a:ext cx="1174020" cy="1455354"/>
          </a:xfrm>
          <a:custGeom>
            <a:avLst/>
            <a:gdLst/>
            <a:ahLst/>
            <a:cxnLst/>
            <a:rect l="l" t="t" r="r" b="b"/>
            <a:pathLst>
              <a:path w="2684349" h="3327606">
                <a:moveTo>
                  <a:pt x="0" y="0"/>
                </a:moveTo>
                <a:lnTo>
                  <a:pt x="2684349" y="0"/>
                </a:lnTo>
                <a:lnTo>
                  <a:pt x="2684349" y="3327606"/>
                </a:lnTo>
                <a:lnTo>
                  <a:pt x="0" y="3327606"/>
                </a:lnTo>
                <a:lnTo>
                  <a:pt x="0" y="0"/>
                </a:lnTo>
                <a:close/>
              </a:path>
            </a:pathLst>
          </a:custGeom>
          <a:blipFill>
            <a:blip r:embed="rId10">
              <a:extLs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 l="-157570" t="-6438" b="-44673"/>
            </a:stretch>
          </a:blipFill>
          <a:ln>
            <a:noFill/>
          </a:ln>
        </p:spPr>
        <p:txBody>
          <a:bodyPr/>
          <a:lstStyle/>
          <a:p>
            <a:endParaRPr lang="fr-MA" sz="428" dirty="0">
              <a:latin typeface="Dosis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71825463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E9564605-AA2B-4345-BDCC-8949E02A8E4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 2">
            <a:extLst>
              <a:ext uri="{FF2B5EF4-FFF2-40B4-BE49-F238E27FC236}">
                <a16:creationId xmlns:a16="http://schemas.microsoft.com/office/drawing/2014/main" id="{00A768CB-E857-B781-7DF3-AA99CAB48CC6}"/>
              </a:ext>
            </a:extLst>
          </p:cNvPr>
          <p:cNvPicPr/>
          <p:nvPr/>
        </p:nvPicPr>
        <p:blipFill>
          <a:blip r:embed="rId4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pic>
        <p:nvPicPr>
          <p:cNvPr id="7" name="Image 6">
            <a:extLst>
              <a:ext uri="{FF2B5EF4-FFF2-40B4-BE49-F238E27FC236}">
                <a16:creationId xmlns:a16="http://schemas.microsoft.com/office/drawing/2014/main" id="{8544C735-E329-90F4-B18B-9B10FB40C352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279195" y="562563"/>
            <a:ext cx="983213" cy="1085493"/>
          </a:xfrm>
          <a:prstGeom prst="rect">
            <a:avLst/>
          </a:prstGeom>
        </p:spPr>
      </p:pic>
      <p:sp>
        <p:nvSpPr>
          <p:cNvPr id="14" name="ZoneTexte 7">
            <a:extLst>
              <a:ext uri="{FF2B5EF4-FFF2-40B4-BE49-F238E27FC236}">
                <a16:creationId xmlns:a16="http://schemas.microsoft.com/office/drawing/2014/main" id="{1D51334B-B71A-F993-F5DF-949B9D260AFF}"/>
              </a:ext>
            </a:extLst>
          </p:cNvPr>
          <p:cNvSpPr txBox="1"/>
          <p:nvPr/>
        </p:nvSpPr>
        <p:spPr>
          <a:xfrm>
            <a:off x="890583" y="550366"/>
            <a:ext cx="763284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rtl="1"/>
            <a:r>
              <a:rPr lang="ar-MA" sz="1800" b="1" dirty="0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انتبهوا. سأقوم بالجزء الأول من النشاط 1 ... . </a:t>
            </a:r>
          </a:p>
        </p:txBody>
      </p:sp>
      <p:pic>
        <p:nvPicPr>
          <p:cNvPr id="16" name="Image 15">
            <a:extLst>
              <a:ext uri="{FF2B5EF4-FFF2-40B4-BE49-F238E27FC236}">
                <a16:creationId xmlns:a16="http://schemas.microsoft.com/office/drawing/2014/main" id="{07224DB3-CF1F-21AD-15E6-A598AB1517B2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93994" y="1693520"/>
            <a:ext cx="7156012" cy="4390658"/>
          </a:xfrm>
          <a:prstGeom prst="rect">
            <a:avLst/>
          </a:prstGeom>
        </p:spPr>
      </p:pic>
      <p:sp>
        <p:nvSpPr>
          <p:cNvPr id="17" name="Rectangle : coins arrondis 16">
            <a:extLst>
              <a:ext uri="{FF2B5EF4-FFF2-40B4-BE49-F238E27FC236}">
                <a16:creationId xmlns:a16="http://schemas.microsoft.com/office/drawing/2014/main" id="{CC88C068-49F7-A593-BB2F-A8F753856A07}"/>
              </a:ext>
            </a:extLst>
          </p:cNvPr>
          <p:cNvSpPr/>
          <p:nvPr/>
        </p:nvSpPr>
        <p:spPr>
          <a:xfrm>
            <a:off x="2084439" y="2064774"/>
            <a:ext cx="2487561" cy="2045110"/>
          </a:xfrm>
          <a:prstGeom prst="round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8" name="Flèche : bas 17">
            <a:extLst>
              <a:ext uri="{FF2B5EF4-FFF2-40B4-BE49-F238E27FC236}">
                <a16:creationId xmlns:a16="http://schemas.microsoft.com/office/drawing/2014/main" id="{DD1F60CF-C3F4-7A4C-8C9D-1F0C3C038FB7}"/>
              </a:ext>
            </a:extLst>
          </p:cNvPr>
          <p:cNvSpPr/>
          <p:nvPr/>
        </p:nvSpPr>
        <p:spPr>
          <a:xfrm>
            <a:off x="3194012" y="1470064"/>
            <a:ext cx="268414" cy="501445"/>
          </a:xfrm>
          <a:prstGeom prst="downArrow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487738216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C5AB8FBB-BE50-BB99-C611-DC11ABC8D74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 2">
            <a:extLst>
              <a:ext uri="{FF2B5EF4-FFF2-40B4-BE49-F238E27FC236}">
                <a16:creationId xmlns:a16="http://schemas.microsoft.com/office/drawing/2014/main" id="{5AFFB066-8F3B-B14D-6AFD-4BD6135B4351}"/>
              </a:ext>
            </a:extLst>
          </p:cNvPr>
          <p:cNvPicPr/>
          <p:nvPr/>
        </p:nvPicPr>
        <p:blipFill>
          <a:blip r:embed="rId4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pic>
        <p:nvPicPr>
          <p:cNvPr id="7" name="Image 6">
            <a:extLst>
              <a:ext uri="{FF2B5EF4-FFF2-40B4-BE49-F238E27FC236}">
                <a16:creationId xmlns:a16="http://schemas.microsoft.com/office/drawing/2014/main" id="{5577EBDD-D461-F161-08D4-6EA7E4108BF5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279195" y="562563"/>
            <a:ext cx="983213" cy="1085493"/>
          </a:xfrm>
          <a:prstGeom prst="rect">
            <a:avLst/>
          </a:prstGeom>
        </p:spPr>
      </p:pic>
      <p:sp>
        <p:nvSpPr>
          <p:cNvPr id="14" name="ZoneTexte 7">
            <a:extLst>
              <a:ext uri="{FF2B5EF4-FFF2-40B4-BE49-F238E27FC236}">
                <a16:creationId xmlns:a16="http://schemas.microsoft.com/office/drawing/2014/main" id="{B1EF6E8E-7D6F-2DF2-A16D-B7C875D6BA6A}"/>
              </a:ext>
            </a:extLst>
          </p:cNvPr>
          <p:cNvSpPr txBox="1"/>
          <p:nvPr/>
        </p:nvSpPr>
        <p:spPr>
          <a:xfrm>
            <a:off x="890583" y="550366"/>
            <a:ext cx="763284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rtl="1"/>
            <a:r>
              <a:rPr lang="ar-MA" sz="1800" b="1" dirty="0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أعد الزهور... واحد، اثنان. زهرتان . اثنان.</a:t>
            </a:r>
          </a:p>
          <a:p>
            <a:pPr algn="r" rtl="1"/>
            <a:r>
              <a:rPr lang="ar-MA" i="1" dirty="0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يعد المدرس(ة) الزهور بأصبعه على الشريحة.</a:t>
            </a:r>
            <a:endParaRPr lang="ar-MA" sz="1800" i="1" dirty="0">
              <a:solidFill>
                <a:schemeClr val="bg1">
                  <a:lumMod val="65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16" name="Image 15">
            <a:extLst>
              <a:ext uri="{FF2B5EF4-FFF2-40B4-BE49-F238E27FC236}">
                <a16:creationId xmlns:a16="http://schemas.microsoft.com/office/drawing/2014/main" id="{5F53D23A-B033-D4FC-8F3A-AB454D4861B0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93994" y="1693520"/>
            <a:ext cx="7156012" cy="4390658"/>
          </a:xfrm>
          <a:prstGeom prst="rect">
            <a:avLst/>
          </a:prstGeom>
        </p:spPr>
      </p:pic>
      <p:sp>
        <p:nvSpPr>
          <p:cNvPr id="17" name="Rectangle : coins arrondis 16">
            <a:extLst>
              <a:ext uri="{FF2B5EF4-FFF2-40B4-BE49-F238E27FC236}">
                <a16:creationId xmlns:a16="http://schemas.microsoft.com/office/drawing/2014/main" id="{88D78698-1F37-82E4-D5F6-2455FB279A7F}"/>
              </a:ext>
            </a:extLst>
          </p:cNvPr>
          <p:cNvSpPr/>
          <p:nvPr/>
        </p:nvSpPr>
        <p:spPr>
          <a:xfrm>
            <a:off x="2084439" y="2064774"/>
            <a:ext cx="2487561" cy="2045110"/>
          </a:xfrm>
          <a:prstGeom prst="round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2" name="Image 1" descr="Une image contenant clipart, conception, art&#10;&#10;Description générée automatiquement">
            <a:extLst>
              <a:ext uri="{FF2B5EF4-FFF2-40B4-BE49-F238E27FC236}">
                <a16:creationId xmlns:a16="http://schemas.microsoft.com/office/drawing/2014/main" id="{E75BA84E-1B13-3B2C-7DF8-2CB17872E6E6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2559524">
            <a:off x="2507179" y="2676256"/>
            <a:ext cx="426702" cy="7474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18364502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477BD5AD-57F0-4F5C-3CE3-A4639DC9D9F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 2">
            <a:extLst>
              <a:ext uri="{FF2B5EF4-FFF2-40B4-BE49-F238E27FC236}">
                <a16:creationId xmlns:a16="http://schemas.microsoft.com/office/drawing/2014/main" id="{5EB20534-0BF0-7369-4F0B-04981C2B0C10}"/>
              </a:ext>
            </a:extLst>
          </p:cNvPr>
          <p:cNvPicPr/>
          <p:nvPr/>
        </p:nvPicPr>
        <p:blipFill>
          <a:blip r:embed="rId4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pic>
        <p:nvPicPr>
          <p:cNvPr id="7" name="Image 6">
            <a:extLst>
              <a:ext uri="{FF2B5EF4-FFF2-40B4-BE49-F238E27FC236}">
                <a16:creationId xmlns:a16="http://schemas.microsoft.com/office/drawing/2014/main" id="{3734EA67-8348-4631-CCFF-3A9254D5A06F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279195" y="562563"/>
            <a:ext cx="983213" cy="1085493"/>
          </a:xfrm>
          <a:prstGeom prst="rect">
            <a:avLst/>
          </a:prstGeom>
        </p:spPr>
      </p:pic>
      <p:sp>
        <p:nvSpPr>
          <p:cNvPr id="14" name="ZoneTexte 7">
            <a:extLst>
              <a:ext uri="{FF2B5EF4-FFF2-40B4-BE49-F238E27FC236}">
                <a16:creationId xmlns:a16="http://schemas.microsoft.com/office/drawing/2014/main" id="{1E7B6280-6AD6-6183-3CC6-4A73547D5D68}"/>
              </a:ext>
            </a:extLst>
          </p:cNvPr>
          <p:cNvSpPr txBox="1"/>
          <p:nvPr/>
        </p:nvSpPr>
        <p:spPr>
          <a:xfrm>
            <a:off x="890583" y="550366"/>
            <a:ext cx="763284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rtl="1"/>
            <a:r>
              <a:rPr lang="ar-MA" sz="1800" b="1" dirty="0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أبحث عن العدد 2 في الشريط أسفل المجموعة وألون بطاقته هكذا.</a:t>
            </a:r>
          </a:p>
        </p:txBody>
      </p:sp>
      <p:pic>
        <p:nvPicPr>
          <p:cNvPr id="16" name="Image 15">
            <a:extLst>
              <a:ext uri="{FF2B5EF4-FFF2-40B4-BE49-F238E27FC236}">
                <a16:creationId xmlns:a16="http://schemas.microsoft.com/office/drawing/2014/main" id="{DCA90760-F520-F763-6AA9-A3E0284A77BC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93994" y="1693520"/>
            <a:ext cx="7156012" cy="4390657"/>
          </a:xfrm>
          <a:prstGeom prst="rect">
            <a:avLst/>
          </a:prstGeom>
        </p:spPr>
      </p:pic>
      <p:sp>
        <p:nvSpPr>
          <p:cNvPr id="17" name="Rectangle : coins arrondis 16">
            <a:extLst>
              <a:ext uri="{FF2B5EF4-FFF2-40B4-BE49-F238E27FC236}">
                <a16:creationId xmlns:a16="http://schemas.microsoft.com/office/drawing/2014/main" id="{4D65A286-9ECA-7311-720D-BAA465457900}"/>
              </a:ext>
            </a:extLst>
          </p:cNvPr>
          <p:cNvSpPr/>
          <p:nvPr/>
        </p:nvSpPr>
        <p:spPr>
          <a:xfrm>
            <a:off x="2084439" y="2064774"/>
            <a:ext cx="2487561" cy="2045110"/>
          </a:xfrm>
          <a:prstGeom prst="round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940711469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EA349C50-6201-6993-8502-69AE29EBFC7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 2">
            <a:extLst>
              <a:ext uri="{FF2B5EF4-FFF2-40B4-BE49-F238E27FC236}">
                <a16:creationId xmlns:a16="http://schemas.microsoft.com/office/drawing/2014/main" id="{970FB8CD-0A81-174C-CBBB-E4D7166F5DD2}"/>
              </a:ext>
            </a:extLst>
          </p:cNvPr>
          <p:cNvPicPr/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6" name="Google Shape;462;p24">
            <a:extLst>
              <a:ext uri="{FF2B5EF4-FFF2-40B4-BE49-F238E27FC236}">
                <a16:creationId xmlns:a16="http://schemas.microsoft.com/office/drawing/2014/main" id="{D4331248-129C-7B71-43D4-682B23E3C838}"/>
              </a:ext>
            </a:extLst>
          </p:cNvPr>
          <p:cNvSpPr txBox="1"/>
          <p:nvPr/>
        </p:nvSpPr>
        <p:spPr>
          <a:xfrm>
            <a:off x="1144915" y="466059"/>
            <a:ext cx="7315199" cy="61552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0950" tIns="30467" rIns="60950" bIns="30467" anchor="t" anchorCtr="0">
            <a:spAutoFit/>
          </a:bodyPr>
          <a:lstStyle/>
          <a:p>
            <a:pPr algn="r" rtl="1"/>
            <a:r>
              <a:rPr lang="ar-MA" b="1" dirty="0">
                <a:solidFill>
                  <a:srgbClr val="A5A5A5"/>
                </a:solidFill>
                <a:latin typeface="Calibri"/>
                <a:ea typeface="Calibri"/>
                <a:cs typeface="Calibri"/>
                <a:sym typeface="Calibri"/>
              </a:rPr>
              <a:t>الآن سنشتغل على كراسة الرياضيات. الصفحة 16. النشاط 1.</a:t>
            </a:r>
          </a:p>
          <a:p>
            <a:pPr algn="r" rtl="1"/>
            <a:r>
              <a:rPr lang="ar-MA" b="1" dirty="0">
                <a:solidFill>
                  <a:srgbClr val="A5A5A5"/>
                </a:solidFill>
                <a:latin typeface="Calibri"/>
                <a:ea typeface="Calibri"/>
                <a:cs typeface="Calibri"/>
                <a:sym typeface="Calibri"/>
              </a:rPr>
              <a:t>لونوا بطاقة عدد عناصر كل مجموعة. سأمر بين الصفوف لتقديم المساعدة.</a:t>
            </a:r>
          </a:p>
        </p:txBody>
      </p:sp>
      <p:pic>
        <p:nvPicPr>
          <p:cNvPr id="2" name="Image 1">
            <a:extLst>
              <a:ext uri="{FF2B5EF4-FFF2-40B4-BE49-F238E27FC236}">
                <a16:creationId xmlns:a16="http://schemas.microsoft.com/office/drawing/2014/main" id="{C12B8C2E-FF22-9FCD-257B-0F5A3D073318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93994" y="1693520"/>
            <a:ext cx="7156012" cy="4390657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1303F71E-07D3-E8F8-A02D-17C719F9805C}"/>
              </a:ext>
            </a:extLst>
          </p:cNvPr>
          <p:cNvSpPr/>
          <p:nvPr/>
        </p:nvSpPr>
        <p:spPr>
          <a:xfrm>
            <a:off x="914401" y="1644149"/>
            <a:ext cx="7315200" cy="4560006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5" name="Flèche : bas 4">
            <a:extLst>
              <a:ext uri="{FF2B5EF4-FFF2-40B4-BE49-F238E27FC236}">
                <a16:creationId xmlns:a16="http://schemas.microsoft.com/office/drawing/2014/main" id="{0B574DA3-EA8B-0C2F-B9B5-EEAC6B73ECE7}"/>
              </a:ext>
            </a:extLst>
          </p:cNvPr>
          <p:cNvSpPr/>
          <p:nvPr/>
        </p:nvSpPr>
        <p:spPr>
          <a:xfrm>
            <a:off x="2594244" y="1309472"/>
            <a:ext cx="286607" cy="334677"/>
          </a:xfrm>
          <a:prstGeom prst="downArrow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8" name="Image 7">
            <a:extLst>
              <a:ext uri="{FF2B5EF4-FFF2-40B4-BE49-F238E27FC236}">
                <a16:creationId xmlns:a16="http://schemas.microsoft.com/office/drawing/2014/main" id="{25083D97-5804-F563-177B-EAFB73A1E4AB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ackgroundRemoval t="10000" b="90000" l="10000" r="9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395536" y="552317"/>
            <a:ext cx="895747" cy="822553"/>
          </a:xfrm>
          <a:prstGeom prst="rect">
            <a:avLst/>
          </a:prstGeom>
          <a:ln>
            <a:noFill/>
          </a:ln>
          <a:effectLst/>
        </p:spPr>
      </p:pic>
    </p:spTree>
    <p:extLst>
      <p:ext uri="{BB962C8B-B14F-4D97-AF65-F5344CB8AC3E}">
        <p14:creationId xmlns:p14="http://schemas.microsoft.com/office/powerpoint/2010/main" val="1294368727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94A3A276-217B-7B77-9144-42D7E54D04E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3">
            <a:extLst>
              <a:ext uri="{FF2B5EF4-FFF2-40B4-BE49-F238E27FC236}">
                <a16:creationId xmlns:a16="http://schemas.microsoft.com/office/drawing/2014/main" id="{F3D2CACA-F474-80F5-6748-46BA4F8D6B33}"/>
              </a:ext>
            </a:extLst>
          </p:cNvPr>
          <p:cNvPicPr/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3" name="ZoneTexte 2">
            <a:extLst>
              <a:ext uri="{FF2B5EF4-FFF2-40B4-BE49-F238E27FC236}">
                <a16:creationId xmlns:a16="http://schemas.microsoft.com/office/drawing/2014/main" id="{45F594E5-D3FC-33F1-E8E3-E4FB2E0AB674}"/>
              </a:ext>
            </a:extLst>
          </p:cNvPr>
          <p:cNvSpPr txBox="1"/>
          <p:nvPr/>
        </p:nvSpPr>
        <p:spPr>
          <a:xfrm>
            <a:off x="647564" y="493832"/>
            <a:ext cx="784887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نصحح جماعة.</a:t>
            </a:r>
          </a:p>
          <a:p>
            <a:pPr marL="0" marR="0" lvl="0" indent="0" algn="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ar-MA" i="1" dirty="0">
                <a:solidFill>
                  <a:prstClr val="white">
                    <a:lumMod val="65000"/>
                  </a:prst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يتفاعل المدرس(ة) مع التلاميذ.</a:t>
            </a:r>
            <a:endParaRPr kumimoji="0" lang="ar-MA" i="1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pic>
        <p:nvPicPr>
          <p:cNvPr id="9" name="Image 8">
            <a:extLst>
              <a:ext uri="{FF2B5EF4-FFF2-40B4-BE49-F238E27FC236}">
                <a16:creationId xmlns:a16="http://schemas.microsoft.com/office/drawing/2014/main" id="{F55FF58B-3E47-B3A6-5BB1-C5CFD9E59BE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49140" y="361770"/>
            <a:ext cx="1569466" cy="1119692"/>
          </a:xfrm>
          <a:prstGeom prst="rect">
            <a:avLst/>
          </a:prstGeom>
        </p:spPr>
      </p:pic>
      <p:pic>
        <p:nvPicPr>
          <p:cNvPr id="10" name="Image 9">
            <a:extLst>
              <a:ext uri="{FF2B5EF4-FFF2-40B4-BE49-F238E27FC236}">
                <a16:creationId xmlns:a16="http://schemas.microsoft.com/office/drawing/2014/main" id="{7440F40B-E45A-631F-975D-C9C40C159334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93994" y="1693520"/>
            <a:ext cx="7156012" cy="4390657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8C55E869-9B03-1CAD-968D-90842511BEF5}"/>
              </a:ext>
            </a:extLst>
          </p:cNvPr>
          <p:cNvSpPr/>
          <p:nvPr/>
        </p:nvSpPr>
        <p:spPr>
          <a:xfrm>
            <a:off x="5791200" y="3559277"/>
            <a:ext cx="393290" cy="393290"/>
          </a:xfrm>
          <a:prstGeom prst="rect">
            <a:avLst/>
          </a:prstGeom>
          <a:solidFill>
            <a:srgbClr val="FFFF00">
              <a:alpha val="59000"/>
            </a:srgb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D21C04D3-D91B-7F65-130F-05D9D7111086}"/>
              </a:ext>
            </a:extLst>
          </p:cNvPr>
          <p:cNvSpPr/>
          <p:nvPr/>
        </p:nvSpPr>
        <p:spPr>
          <a:xfrm>
            <a:off x="2197509" y="5471651"/>
            <a:ext cx="393290" cy="393290"/>
          </a:xfrm>
          <a:prstGeom prst="rect">
            <a:avLst/>
          </a:prstGeom>
          <a:solidFill>
            <a:srgbClr val="FFFF00">
              <a:alpha val="59000"/>
            </a:srgb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55BE6F4D-E704-B6C0-1B2C-12AF9E198E69}"/>
              </a:ext>
            </a:extLst>
          </p:cNvPr>
          <p:cNvSpPr/>
          <p:nvPr/>
        </p:nvSpPr>
        <p:spPr>
          <a:xfrm>
            <a:off x="5279922" y="5515897"/>
            <a:ext cx="393290" cy="393290"/>
          </a:xfrm>
          <a:prstGeom prst="rect">
            <a:avLst/>
          </a:prstGeom>
          <a:solidFill>
            <a:srgbClr val="FFFF00">
              <a:alpha val="59000"/>
            </a:srgb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2DBCB6D8-C146-1D4B-7E2B-2BB491E85253}"/>
              </a:ext>
            </a:extLst>
          </p:cNvPr>
          <p:cNvSpPr/>
          <p:nvPr/>
        </p:nvSpPr>
        <p:spPr>
          <a:xfrm>
            <a:off x="6076335" y="5506065"/>
            <a:ext cx="304800" cy="393290"/>
          </a:xfrm>
          <a:prstGeom prst="rect">
            <a:avLst/>
          </a:prstGeom>
          <a:solidFill>
            <a:srgbClr val="FFFF00">
              <a:alpha val="59000"/>
            </a:srgb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65845342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2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animBg="1"/>
      <p:bldP spid="12" grpId="0" animBg="1"/>
      <p:bldP spid="13" grpId="0" animBg="1"/>
      <p:bldP spid="14" grpId="0" animBg="1"/>
    </p:bld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E37D21B-4903-75F1-1D92-75EEB7EA959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 2">
            <a:extLst>
              <a:ext uri="{FF2B5EF4-FFF2-40B4-BE49-F238E27FC236}">
                <a16:creationId xmlns:a16="http://schemas.microsoft.com/office/drawing/2014/main" id="{4AA95EA5-A114-6C42-184A-21F9C7616F3B}"/>
              </a:ext>
            </a:extLst>
          </p:cNvPr>
          <p:cNvPicPr/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pic>
        <p:nvPicPr>
          <p:cNvPr id="7" name="Image 6">
            <a:extLst>
              <a:ext uri="{FF2B5EF4-FFF2-40B4-BE49-F238E27FC236}">
                <a16:creationId xmlns:a16="http://schemas.microsoft.com/office/drawing/2014/main" id="{208F771D-1442-1794-9217-79F7EA8A2EF5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279195" y="562563"/>
            <a:ext cx="983213" cy="1085493"/>
          </a:xfrm>
          <a:prstGeom prst="rect">
            <a:avLst/>
          </a:prstGeom>
        </p:spPr>
      </p:pic>
      <p:sp>
        <p:nvSpPr>
          <p:cNvPr id="14" name="ZoneTexte 7">
            <a:extLst>
              <a:ext uri="{FF2B5EF4-FFF2-40B4-BE49-F238E27FC236}">
                <a16:creationId xmlns:a16="http://schemas.microsoft.com/office/drawing/2014/main" id="{0498E376-D645-5DBD-034D-75E2A6A953DF}"/>
              </a:ext>
            </a:extLst>
          </p:cNvPr>
          <p:cNvSpPr txBox="1"/>
          <p:nvPr/>
        </p:nvSpPr>
        <p:spPr>
          <a:xfrm>
            <a:off x="890583" y="550366"/>
            <a:ext cx="763284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rtl="1"/>
            <a:r>
              <a:rPr lang="ar-MA" sz="1800" b="1" dirty="0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انتبهوا. سأقوم بالجزء الأول من النشاط 2 ... . </a:t>
            </a:r>
          </a:p>
        </p:txBody>
      </p:sp>
      <p:pic>
        <p:nvPicPr>
          <p:cNvPr id="16" name="Image 15">
            <a:extLst>
              <a:ext uri="{FF2B5EF4-FFF2-40B4-BE49-F238E27FC236}">
                <a16:creationId xmlns:a16="http://schemas.microsoft.com/office/drawing/2014/main" id="{C97C5348-945D-A638-9F18-5B88A3ED9C8F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39097" y="2442090"/>
            <a:ext cx="7956787" cy="3217308"/>
          </a:xfrm>
          <a:prstGeom prst="rect">
            <a:avLst/>
          </a:prstGeom>
        </p:spPr>
      </p:pic>
      <p:sp>
        <p:nvSpPr>
          <p:cNvPr id="17" name="Rectangle : coins arrondis 16">
            <a:extLst>
              <a:ext uri="{FF2B5EF4-FFF2-40B4-BE49-F238E27FC236}">
                <a16:creationId xmlns:a16="http://schemas.microsoft.com/office/drawing/2014/main" id="{6F3E257D-BF5F-B6FA-3F4C-E700FD1645E3}"/>
              </a:ext>
            </a:extLst>
          </p:cNvPr>
          <p:cNvSpPr/>
          <p:nvPr/>
        </p:nvSpPr>
        <p:spPr>
          <a:xfrm>
            <a:off x="726117" y="2920180"/>
            <a:ext cx="1722116" cy="2644878"/>
          </a:xfrm>
          <a:prstGeom prst="round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8" name="Flèche : bas 17">
            <a:extLst>
              <a:ext uri="{FF2B5EF4-FFF2-40B4-BE49-F238E27FC236}">
                <a16:creationId xmlns:a16="http://schemas.microsoft.com/office/drawing/2014/main" id="{0234894F-4668-F16B-F77D-92E4274AC49C}"/>
              </a:ext>
            </a:extLst>
          </p:cNvPr>
          <p:cNvSpPr/>
          <p:nvPr/>
        </p:nvSpPr>
        <p:spPr>
          <a:xfrm>
            <a:off x="1452968" y="2352828"/>
            <a:ext cx="268414" cy="501445"/>
          </a:xfrm>
          <a:prstGeom prst="downArrow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884003726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999A9D8-1B07-D4FC-09AC-ABA49976028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 2">
            <a:extLst>
              <a:ext uri="{FF2B5EF4-FFF2-40B4-BE49-F238E27FC236}">
                <a16:creationId xmlns:a16="http://schemas.microsoft.com/office/drawing/2014/main" id="{B89FD090-BDF0-E70E-3BCC-0ED39DEE7FF9}"/>
              </a:ext>
            </a:extLst>
          </p:cNvPr>
          <p:cNvPicPr/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pic>
        <p:nvPicPr>
          <p:cNvPr id="7" name="Image 6">
            <a:extLst>
              <a:ext uri="{FF2B5EF4-FFF2-40B4-BE49-F238E27FC236}">
                <a16:creationId xmlns:a16="http://schemas.microsoft.com/office/drawing/2014/main" id="{3FC01199-BF23-2C24-8DDA-C7A9A782A0B8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279195" y="562563"/>
            <a:ext cx="983213" cy="1085493"/>
          </a:xfrm>
          <a:prstGeom prst="rect">
            <a:avLst/>
          </a:prstGeom>
        </p:spPr>
      </p:pic>
      <p:sp>
        <p:nvSpPr>
          <p:cNvPr id="14" name="ZoneTexte 7">
            <a:extLst>
              <a:ext uri="{FF2B5EF4-FFF2-40B4-BE49-F238E27FC236}">
                <a16:creationId xmlns:a16="http://schemas.microsoft.com/office/drawing/2014/main" id="{042DA42D-9813-9DE1-7719-8501B6B00428}"/>
              </a:ext>
            </a:extLst>
          </p:cNvPr>
          <p:cNvSpPr txBox="1"/>
          <p:nvPr/>
        </p:nvSpPr>
        <p:spPr>
          <a:xfrm>
            <a:off x="890583" y="550366"/>
            <a:ext cx="763284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rtl="1"/>
            <a:r>
              <a:rPr lang="ar-MA" sz="1800" b="1" dirty="0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أعد كرات التنس... واحد، اثنان، ثلاثة، أربعة، خمسة. 5 كرات . خمسة.</a:t>
            </a:r>
          </a:p>
          <a:p>
            <a:pPr algn="r" rtl="1"/>
            <a:r>
              <a:rPr lang="ar-MA" i="1" dirty="0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يعد المدرس(ة) كرات التنس بأصبعه على الشريحة.</a:t>
            </a:r>
            <a:endParaRPr lang="ar-MA" sz="1800" i="1" dirty="0">
              <a:solidFill>
                <a:schemeClr val="bg1">
                  <a:lumMod val="65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4" name="Image 3">
            <a:extLst>
              <a:ext uri="{FF2B5EF4-FFF2-40B4-BE49-F238E27FC236}">
                <a16:creationId xmlns:a16="http://schemas.microsoft.com/office/drawing/2014/main" id="{8570FBD9-5019-DEB8-9ED6-1B401F6ADD34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39097" y="2442090"/>
            <a:ext cx="7956787" cy="3217308"/>
          </a:xfrm>
          <a:prstGeom prst="rect">
            <a:avLst/>
          </a:prstGeom>
        </p:spPr>
      </p:pic>
      <p:sp>
        <p:nvSpPr>
          <p:cNvPr id="5" name="Rectangle : coins arrondis 4">
            <a:extLst>
              <a:ext uri="{FF2B5EF4-FFF2-40B4-BE49-F238E27FC236}">
                <a16:creationId xmlns:a16="http://schemas.microsoft.com/office/drawing/2014/main" id="{94C8866F-EFEA-9ABC-7BA6-ABCF129651B5}"/>
              </a:ext>
            </a:extLst>
          </p:cNvPr>
          <p:cNvSpPr/>
          <p:nvPr/>
        </p:nvSpPr>
        <p:spPr>
          <a:xfrm>
            <a:off x="726117" y="2920180"/>
            <a:ext cx="1722116" cy="2644878"/>
          </a:xfrm>
          <a:prstGeom prst="round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8" name="Image 7" descr="Une image contenant clipart, conception, art&#10;&#10;Description générée automatiquement">
            <a:extLst>
              <a:ext uri="{FF2B5EF4-FFF2-40B4-BE49-F238E27FC236}">
                <a16:creationId xmlns:a16="http://schemas.microsoft.com/office/drawing/2014/main" id="{73E53401-528F-F99A-3672-8E2D66E6756F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2559524">
            <a:off x="677232" y="4096425"/>
            <a:ext cx="426702" cy="7474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02456516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A3DF36C-8FF5-1DC3-08AD-A124A996B6E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 2">
            <a:extLst>
              <a:ext uri="{FF2B5EF4-FFF2-40B4-BE49-F238E27FC236}">
                <a16:creationId xmlns:a16="http://schemas.microsoft.com/office/drawing/2014/main" id="{7B197F30-0CF7-CE62-D0C2-0B7B24988B2F}"/>
              </a:ext>
            </a:extLst>
          </p:cNvPr>
          <p:cNvPicPr/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pic>
        <p:nvPicPr>
          <p:cNvPr id="10" name="Image 9">
            <a:extLst>
              <a:ext uri="{FF2B5EF4-FFF2-40B4-BE49-F238E27FC236}">
                <a16:creationId xmlns:a16="http://schemas.microsoft.com/office/drawing/2014/main" id="{F80D83CB-D805-E82D-5373-C524AD4A244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39097" y="2442090"/>
            <a:ext cx="7956787" cy="3207468"/>
          </a:xfrm>
          <a:prstGeom prst="rect">
            <a:avLst/>
          </a:prstGeom>
        </p:spPr>
      </p:pic>
      <p:pic>
        <p:nvPicPr>
          <p:cNvPr id="7" name="Image 6">
            <a:extLst>
              <a:ext uri="{FF2B5EF4-FFF2-40B4-BE49-F238E27FC236}">
                <a16:creationId xmlns:a16="http://schemas.microsoft.com/office/drawing/2014/main" id="{4660F3D7-CC8E-2B6A-F7C5-FF3CE4CEB8C6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279195" y="562563"/>
            <a:ext cx="983213" cy="1085493"/>
          </a:xfrm>
          <a:prstGeom prst="rect">
            <a:avLst/>
          </a:prstGeom>
        </p:spPr>
      </p:pic>
      <p:sp>
        <p:nvSpPr>
          <p:cNvPr id="14" name="ZoneTexte 7">
            <a:extLst>
              <a:ext uri="{FF2B5EF4-FFF2-40B4-BE49-F238E27FC236}">
                <a16:creationId xmlns:a16="http://schemas.microsoft.com/office/drawing/2014/main" id="{8FC947EF-199D-01C0-F630-5F1CC2344340}"/>
              </a:ext>
            </a:extLst>
          </p:cNvPr>
          <p:cNvSpPr txBox="1"/>
          <p:nvPr/>
        </p:nvSpPr>
        <p:spPr>
          <a:xfrm>
            <a:off x="890583" y="550366"/>
            <a:ext cx="763284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rtl="1"/>
            <a:r>
              <a:rPr lang="ar-MA" sz="1800" b="1" dirty="0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أكتب العدد 5 أسفل المجموعة بالأرقام هكذا.</a:t>
            </a:r>
          </a:p>
        </p:txBody>
      </p:sp>
      <p:sp>
        <p:nvSpPr>
          <p:cNvPr id="4" name="Rectangle : coins arrondis 3">
            <a:extLst>
              <a:ext uri="{FF2B5EF4-FFF2-40B4-BE49-F238E27FC236}">
                <a16:creationId xmlns:a16="http://schemas.microsoft.com/office/drawing/2014/main" id="{CCFEEA47-8EC9-A4B8-9B2D-72A7722E3BA1}"/>
              </a:ext>
            </a:extLst>
          </p:cNvPr>
          <p:cNvSpPr/>
          <p:nvPr/>
        </p:nvSpPr>
        <p:spPr>
          <a:xfrm>
            <a:off x="726117" y="2920180"/>
            <a:ext cx="1722116" cy="2644878"/>
          </a:xfrm>
          <a:prstGeom prst="round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279032848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CDCFE04-2D1C-6C54-AB44-3C725A966D4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 2">
            <a:extLst>
              <a:ext uri="{FF2B5EF4-FFF2-40B4-BE49-F238E27FC236}">
                <a16:creationId xmlns:a16="http://schemas.microsoft.com/office/drawing/2014/main" id="{051D75DF-3D34-1570-452E-BD359D35278C}"/>
              </a:ext>
            </a:extLst>
          </p:cNvPr>
          <p:cNvPicPr/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6" name="Google Shape;462;p24">
            <a:extLst>
              <a:ext uri="{FF2B5EF4-FFF2-40B4-BE49-F238E27FC236}">
                <a16:creationId xmlns:a16="http://schemas.microsoft.com/office/drawing/2014/main" id="{513A4662-6D52-343C-0ED9-26DF0FA83681}"/>
              </a:ext>
            </a:extLst>
          </p:cNvPr>
          <p:cNvSpPr txBox="1"/>
          <p:nvPr/>
        </p:nvSpPr>
        <p:spPr>
          <a:xfrm>
            <a:off x="1144915" y="466059"/>
            <a:ext cx="7315199" cy="61552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0950" tIns="30467" rIns="60950" bIns="30467" anchor="t" anchorCtr="0">
            <a:spAutoFit/>
          </a:bodyPr>
          <a:lstStyle/>
          <a:p>
            <a:pPr algn="r" rtl="1"/>
            <a:r>
              <a:rPr lang="ar-MA" b="1" dirty="0">
                <a:solidFill>
                  <a:srgbClr val="A5A5A5"/>
                </a:solidFill>
                <a:latin typeface="Calibri"/>
                <a:ea typeface="Calibri"/>
                <a:cs typeface="Calibri"/>
                <a:sym typeface="Calibri"/>
              </a:rPr>
              <a:t>الآن سنشتغل على كراسة الرياضيات. الصفحة 16. النشاط 2.</a:t>
            </a:r>
          </a:p>
          <a:p>
            <a:pPr algn="r" rtl="1"/>
            <a:r>
              <a:rPr lang="ar-MA" b="1" dirty="0">
                <a:solidFill>
                  <a:srgbClr val="A5A5A5"/>
                </a:solidFill>
                <a:latin typeface="Calibri"/>
                <a:ea typeface="Calibri"/>
                <a:cs typeface="Calibri"/>
                <a:sym typeface="Calibri"/>
              </a:rPr>
              <a:t>عدوا واكتبوا عدد عناصر كل مجموعة بالأرقام. سأمر بين الصفوف لتقديم المساعدة.</a:t>
            </a:r>
          </a:p>
        </p:txBody>
      </p:sp>
      <p:sp>
        <p:nvSpPr>
          <p:cNvPr id="5" name="Flèche : bas 4">
            <a:extLst>
              <a:ext uri="{FF2B5EF4-FFF2-40B4-BE49-F238E27FC236}">
                <a16:creationId xmlns:a16="http://schemas.microsoft.com/office/drawing/2014/main" id="{70F384FC-9F0F-D725-FBF2-4B0B5B0592CF}"/>
              </a:ext>
            </a:extLst>
          </p:cNvPr>
          <p:cNvSpPr/>
          <p:nvPr/>
        </p:nvSpPr>
        <p:spPr>
          <a:xfrm>
            <a:off x="4428696" y="2013387"/>
            <a:ext cx="286607" cy="334677"/>
          </a:xfrm>
          <a:prstGeom prst="downArrow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8" name="Image 7">
            <a:extLst>
              <a:ext uri="{FF2B5EF4-FFF2-40B4-BE49-F238E27FC236}">
                <a16:creationId xmlns:a16="http://schemas.microsoft.com/office/drawing/2014/main" id="{8FD4F311-A602-CADF-1D8C-527AE808B9C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10000" b="90000" l="10000" r="9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395536" y="552317"/>
            <a:ext cx="895747" cy="822553"/>
          </a:xfrm>
          <a:prstGeom prst="rect">
            <a:avLst/>
          </a:prstGeom>
          <a:ln>
            <a:noFill/>
          </a:ln>
          <a:effectLst/>
        </p:spPr>
      </p:pic>
      <p:pic>
        <p:nvPicPr>
          <p:cNvPr id="7" name="Image 6">
            <a:extLst>
              <a:ext uri="{FF2B5EF4-FFF2-40B4-BE49-F238E27FC236}">
                <a16:creationId xmlns:a16="http://schemas.microsoft.com/office/drawing/2014/main" id="{72FD1AEF-C2CF-CA94-DAED-B8F7C0AE98E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39097" y="2442090"/>
            <a:ext cx="7956787" cy="3207468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C1B0D724-4295-E3E7-1639-9F563CBC3A8C}"/>
              </a:ext>
            </a:extLst>
          </p:cNvPr>
          <p:cNvSpPr/>
          <p:nvPr/>
        </p:nvSpPr>
        <p:spPr>
          <a:xfrm>
            <a:off x="548116" y="2379406"/>
            <a:ext cx="8047768" cy="3299648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711822364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56C7E7B-7524-A18C-3F94-613939B8882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3">
            <a:extLst>
              <a:ext uri="{FF2B5EF4-FFF2-40B4-BE49-F238E27FC236}">
                <a16:creationId xmlns:a16="http://schemas.microsoft.com/office/drawing/2014/main" id="{0BDDA2AB-412A-B692-F3ED-7BA8CF0A34F9}"/>
              </a:ext>
            </a:extLst>
          </p:cNvPr>
          <p:cNvPicPr/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3" name="ZoneTexte 2">
            <a:extLst>
              <a:ext uri="{FF2B5EF4-FFF2-40B4-BE49-F238E27FC236}">
                <a16:creationId xmlns:a16="http://schemas.microsoft.com/office/drawing/2014/main" id="{6E77F01C-A733-3561-DBAD-2F818D4BF8F5}"/>
              </a:ext>
            </a:extLst>
          </p:cNvPr>
          <p:cNvSpPr txBox="1"/>
          <p:nvPr/>
        </p:nvSpPr>
        <p:spPr>
          <a:xfrm>
            <a:off x="647564" y="493832"/>
            <a:ext cx="784887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نصحح جماعة.</a:t>
            </a:r>
          </a:p>
          <a:p>
            <a:pPr marL="0" marR="0" lvl="0" indent="0" algn="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ar-MA" i="1" dirty="0">
                <a:solidFill>
                  <a:prstClr val="white">
                    <a:lumMod val="65000"/>
                  </a:prst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يتفاعل المدرس(ة) مع التلاميذ.</a:t>
            </a:r>
            <a:endParaRPr kumimoji="0" lang="ar-MA" i="1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pic>
        <p:nvPicPr>
          <p:cNvPr id="9" name="Image 8">
            <a:extLst>
              <a:ext uri="{FF2B5EF4-FFF2-40B4-BE49-F238E27FC236}">
                <a16:creationId xmlns:a16="http://schemas.microsoft.com/office/drawing/2014/main" id="{BB700C4A-FFBC-4C5F-9372-054DB3EE93D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49140" y="361770"/>
            <a:ext cx="1569466" cy="1119692"/>
          </a:xfrm>
          <a:prstGeom prst="rect">
            <a:avLst/>
          </a:prstGeom>
        </p:spPr>
      </p:pic>
      <p:pic>
        <p:nvPicPr>
          <p:cNvPr id="2" name="Image 1">
            <a:extLst>
              <a:ext uri="{FF2B5EF4-FFF2-40B4-BE49-F238E27FC236}">
                <a16:creationId xmlns:a16="http://schemas.microsoft.com/office/drawing/2014/main" id="{3345878E-2BD5-D9CE-42D8-3AB7A5498D4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39097" y="2442090"/>
            <a:ext cx="7956787" cy="3207468"/>
          </a:xfrm>
          <a:prstGeom prst="rect">
            <a:avLst/>
          </a:prstGeom>
        </p:spPr>
      </p:pic>
      <p:sp>
        <p:nvSpPr>
          <p:cNvPr id="5" name="ZoneTexte 4">
            <a:extLst>
              <a:ext uri="{FF2B5EF4-FFF2-40B4-BE49-F238E27FC236}">
                <a16:creationId xmlns:a16="http://schemas.microsoft.com/office/drawing/2014/main" id="{5B90CABB-353B-9782-5E38-8DDA0A301DA5}"/>
              </a:ext>
            </a:extLst>
          </p:cNvPr>
          <p:cNvSpPr txBox="1"/>
          <p:nvPr/>
        </p:nvSpPr>
        <p:spPr>
          <a:xfrm>
            <a:off x="2851356" y="4798141"/>
            <a:ext cx="498855" cy="76944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ar-MA" sz="4400" dirty="0">
                <a:solidFill>
                  <a:srgbClr val="0070C0"/>
                </a:solidFill>
              </a:rPr>
              <a:t>4</a:t>
            </a:r>
            <a:endParaRPr lang="fr-FR" sz="4400" dirty="0">
              <a:solidFill>
                <a:srgbClr val="0070C0"/>
              </a:solidFill>
            </a:endParaRPr>
          </a:p>
        </p:txBody>
      </p:sp>
      <p:sp>
        <p:nvSpPr>
          <p:cNvPr id="6" name="ZoneTexte 5">
            <a:extLst>
              <a:ext uri="{FF2B5EF4-FFF2-40B4-BE49-F238E27FC236}">
                <a16:creationId xmlns:a16="http://schemas.microsoft.com/office/drawing/2014/main" id="{863AB9F8-C824-3D85-8252-F914B894D024}"/>
              </a:ext>
            </a:extLst>
          </p:cNvPr>
          <p:cNvSpPr txBox="1"/>
          <p:nvPr/>
        </p:nvSpPr>
        <p:spPr>
          <a:xfrm>
            <a:off x="4368062" y="4798140"/>
            <a:ext cx="498855" cy="76944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ar-MA" sz="4400" dirty="0">
                <a:solidFill>
                  <a:srgbClr val="0070C0"/>
                </a:solidFill>
              </a:rPr>
              <a:t>3</a:t>
            </a:r>
            <a:endParaRPr lang="fr-FR" sz="4400" dirty="0">
              <a:solidFill>
                <a:srgbClr val="0070C0"/>
              </a:solidFill>
            </a:endParaRPr>
          </a:p>
        </p:txBody>
      </p:sp>
      <p:sp>
        <p:nvSpPr>
          <p:cNvPr id="7" name="ZoneTexte 6">
            <a:extLst>
              <a:ext uri="{FF2B5EF4-FFF2-40B4-BE49-F238E27FC236}">
                <a16:creationId xmlns:a16="http://schemas.microsoft.com/office/drawing/2014/main" id="{216ADFEB-E597-ED90-D4AE-81638B8EBFE1}"/>
              </a:ext>
            </a:extLst>
          </p:cNvPr>
          <p:cNvSpPr txBox="1"/>
          <p:nvPr/>
        </p:nvSpPr>
        <p:spPr>
          <a:xfrm>
            <a:off x="5884768" y="4798140"/>
            <a:ext cx="498855" cy="76944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ar-MA" sz="4400" dirty="0">
                <a:solidFill>
                  <a:srgbClr val="0070C0"/>
                </a:solidFill>
              </a:rPr>
              <a:t>1</a:t>
            </a:r>
            <a:endParaRPr lang="fr-FR" sz="4400" dirty="0">
              <a:solidFill>
                <a:srgbClr val="0070C0"/>
              </a:solidFill>
            </a:endParaRPr>
          </a:p>
        </p:txBody>
      </p:sp>
      <p:sp>
        <p:nvSpPr>
          <p:cNvPr id="8" name="ZoneTexte 7">
            <a:extLst>
              <a:ext uri="{FF2B5EF4-FFF2-40B4-BE49-F238E27FC236}">
                <a16:creationId xmlns:a16="http://schemas.microsoft.com/office/drawing/2014/main" id="{3F551661-CE7C-1E54-34C8-0B2A914B61CC}"/>
              </a:ext>
            </a:extLst>
          </p:cNvPr>
          <p:cNvSpPr txBox="1"/>
          <p:nvPr/>
        </p:nvSpPr>
        <p:spPr>
          <a:xfrm>
            <a:off x="7401474" y="4798140"/>
            <a:ext cx="498855" cy="76944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ar-MA" sz="4400" dirty="0">
                <a:solidFill>
                  <a:srgbClr val="0070C0"/>
                </a:solidFill>
              </a:rPr>
              <a:t>2</a:t>
            </a:r>
            <a:endParaRPr lang="fr-FR" sz="4400" dirty="0">
              <a:solidFill>
                <a:srgbClr val="0070C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9284149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2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2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  <p:bldP spid="6" grpId="0"/>
      <p:bldP spid="7" grpId="0"/>
      <p:bldP spid="8" grpId="0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e 5">
            <a:extLst>
              <a:ext uri="{FF2B5EF4-FFF2-40B4-BE49-F238E27FC236}">
                <a16:creationId xmlns:a16="http://schemas.microsoft.com/office/drawing/2014/main" id="{CB165543-4DBF-48F7-57E1-EF9DF479B2E5}"/>
              </a:ext>
            </a:extLst>
          </p:cNvPr>
          <p:cNvGrpSpPr/>
          <p:nvPr>
            <p:custDataLst>
              <p:tags r:id="rId1"/>
            </p:custDataLst>
          </p:nvPr>
        </p:nvGrpSpPr>
        <p:grpSpPr>
          <a:xfrm>
            <a:off x="0" y="0"/>
            <a:ext cx="9144000" cy="6858000"/>
            <a:chOff x="0" y="0"/>
            <a:chExt cx="13716000" cy="10287000"/>
          </a:xfrm>
        </p:grpSpPr>
        <p:sp>
          <p:nvSpPr>
            <p:cNvPr id="10" name="Freeform 2">
              <a:extLst>
                <a:ext uri="{FF2B5EF4-FFF2-40B4-BE49-F238E27FC236}">
                  <a16:creationId xmlns:a16="http://schemas.microsoft.com/office/drawing/2014/main" id="{F708FCD2-6BF9-00A9-A27E-4ABFC613E86D}"/>
                </a:ext>
              </a:extLst>
            </p:cNvPr>
            <p:cNvSpPr/>
            <p:nvPr/>
          </p:nvSpPr>
          <p:spPr>
            <a:xfrm>
              <a:off x="0" y="0"/>
              <a:ext cx="13716000" cy="10287000"/>
            </a:xfrm>
            <a:custGeom>
              <a:avLst/>
              <a:gdLst/>
              <a:ahLst/>
              <a:cxnLst/>
              <a:rect l="l" t="t" r="r" b="b"/>
              <a:pathLst>
                <a:path w="18288000" h="10287000">
                  <a:moveTo>
                    <a:pt x="0" y="0"/>
                  </a:moveTo>
                  <a:lnTo>
                    <a:pt x="18288000" y="0"/>
                  </a:lnTo>
                  <a:lnTo>
                    <a:pt x="18288000" y="10287000"/>
                  </a:lnTo>
                  <a:lnTo>
                    <a:pt x="0" y="10287000"/>
                  </a:lnTo>
                  <a:lnTo>
                    <a:pt x="0" y="0"/>
                  </a:lnTo>
                  <a:close/>
                </a:path>
              </a:pathLst>
            </a:custGeom>
            <a:blipFill>
              <a:blip r:embed="rId10"/>
              <a:stretch>
                <a:fillRect t="-5555" b="-5555"/>
              </a:stretch>
            </a:blipFill>
            <a:ln>
              <a:noFill/>
            </a:ln>
          </p:spPr>
          <p:txBody>
            <a:bodyPr/>
            <a:lstStyle/>
            <a:p>
              <a:pPr marL="0" marR="0" lvl="0" indent="0" algn="l" defTabSz="60963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MA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endParaRPr>
            </a:p>
          </p:txBody>
        </p:sp>
        <p:grpSp>
          <p:nvGrpSpPr>
            <p:cNvPr id="11" name="Groupe 10">
              <a:extLst>
                <a:ext uri="{FF2B5EF4-FFF2-40B4-BE49-F238E27FC236}">
                  <a16:creationId xmlns:a16="http://schemas.microsoft.com/office/drawing/2014/main" id="{CF0E36C0-C341-AACC-60EE-1249E2D9C505}"/>
                </a:ext>
              </a:extLst>
            </p:cNvPr>
            <p:cNvGrpSpPr/>
            <p:nvPr/>
          </p:nvGrpSpPr>
          <p:grpSpPr>
            <a:xfrm>
              <a:off x="800100" y="271776"/>
              <a:ext cx="12001500" cy="9516240"/>
              <a:chOff x="800100" y="271776"/>
              <a:chExt cx="12001500" cy="9516240"/>
            </a:xfrm>
          </p:grpSpPr>
          <p:grpSp>
            <p:nvGrpSpPr>
              <p:cNvPr id="12" name="Group 3">
                <a:extLst>
                  <a:ext uri="{FF2B5EF4-FFF2-40B4-BE49-F238E27FC236}">
                    <a16:creationId xmlns:a16="http://schemas.microsoft.com/office/drawing/2014/main" id="{6856C84E-5D28-B1BE-B422-DE634E79C01D}"/>
                  </a:ext>
                </a:extLst>
              </p:cNvPr>
              <p:cNvGrpSpPr/>
              <p:nvPr/>
            </p:nvGrpSpPr>
            <p:grpSpPr>
              <a:xfrm>
                <a:off x="800100" y="823019"/>
                <a:ext cx="12001500" cy="8964997"/>
                <a:chOff x="0" y="-506922"/>
                <a:chExt cx="3895412" cy="3664738"/>
              </a:xfrm>
            </p:grpSpPr>
            <p:sp>
              <p:nvSpPr>
                <p:cNvPr id="14" name="Freeform 4">
                  <a:extLst>
                    <a:ext uri="{FF2B5EF4-FFF2-40B4-BE49-F238E27FC236}">
                      <a16:creationId xmlns:a16="http://schemas.microsoft.com/office/drawing/2014/main" id="{E467593A-A3AA-574E-C98C-D79D5650552D}"/>
                    </a:ext>
                  </a:extLst>
                </p:cNvPr>
                <p:cNvSpPr/>
                <p:nvPr/>
              </p:nvSpPr>
              <p:spPr>
                <a:xfrm>
                  <a:off x="0" y="-506922"/>
                  <a:ext cx="3895412" cy="366473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895412" h="2555175">
                      <a:moveTo>
                        <a:pt x="6703" y="0"/>
                      </a:moveTo>
                      <a:lnTo>
                        <a:pt x="3888710" y="0"/>
                      </a:lnTo>
                      <a:cubicBezTo>
                        <a:pt x="3892411" y="0"/>
                        <a:pt x="3895412" y="3001"/>
                        <a:pt x="3895412" y="6703"/>
                      </a:cubicBezTo>
                      <a:lnTo>
                        <a:pt x="3895412" y="2548473"/>
                      </a:lnTo>
                      <a:cubicBezTo>
                        <a:pt x="3895412" y="2550250"/>
                        <a:pt x="3894706" y="2551955"/>
                        <a:pt x="3893449" y="2553212"/>
                      </a:cubicBezTo>
                      <a:cubicBezTo>
                        <a:pt x="3892192" y="2554469"/>
                        <a:pt x="3890487" y="2555175"/>
                        <a:pt x="3888710" y="2555175"/>
                      </a:cubicBezTo>
                      <a:lnTo>
                        <a:pt x="6703" y="2555175"/>
                      </a:lnTo>
                      <a:cubicBezTo>
                        <a:pt x="4925" y="2555175"/>
                        <a:pt x="3220" y="2554469"/>
                        <a:pt x="1963" y="2553212"/>
                      </a:cubicBezTo>
                      <a:cubicBezTo>
                        <a:pt x="706" y="2551955"/>
                        <a:pt x="0" y="2550250"/>
                        <a:pt x="0" y="2548473"/>
                      </a:cubicBezTo>
                      <a:lnTo>
                        <a:pt x="0" y="6703"/>
                      </a:lnTo>
                      <a:cubicBezTo>
                        <a:pt x="0" y="4925"/>
                        <a:pt x="706" y="3220"/>
                        <a:pt x="1963" y="1963"/>
                      </a:cubicBezTo>
                      <a:cubicBezTo>
                        <a:pt x="3220" y="706"/>
                        <a:pt x="4925" y="0"/>
                        <a:pt x="6703" y="0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19050">
                  <a:solidFill>
                    <a:srgbClr val="2B7589"/>
                  </a:solidFill>
                </a:ln>
              </p:spPr>
              <p:txBody>
                <a:bodyPr/>
                <a:lstStyle/>
                <a:p>
                  <a:pPr marL="0" marR="0" lvl="0" indent="0" algn="l" defTabSz="60963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MA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Dosis" pitchFamily="2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15" name="TextBox 5">
                  <a:extLst>
                    <a:ext uri="{FF2B5EF4-FFF2-40B4-BE49-F238E27FC236}">
                      <a16:creationId xmlns:a16="http://schemas.microsoft.com/office/drawing/2014/main" id="{EBF35789-EF5A-9231-2393-AA2D13C5F56A}"/>
                    </a:ext>
                  </a:extLst>
                </p:cNvPr>
                <p:cNvSpPr txBox="1"/>
                <p:nvPr/>
              </p:nvSpPr>
              <p:spPr>
                <a:xfrm>
                  <a:off x="0" y="-47625"/>
                  <a:ext cx="812800" cy="860425"/>
                </a:xfrm>
                <a:prstGeom prst="rect">
                  <a:avLst/>
                </a:prstGeom>
                <a:ln>
                  <a:noFill/>
                </a:ln>
              </p:spPr>
              <p:txBody>
                <a:bodyPr lIns="25400" tIns="25400" rIns="25400" bIns="25400" rtlCol="0" anchor="ctr"/>
                <a:lstStyle/>
                <a:p>
                  <a:pPr marL="0" marR="0" lvl="0" indent="0" algn="ctr" defTabSz="609630" rtl="0" eaLnBrk="1" fontAlgn="auto" latinLnBrk="0" hangingPunct="1">
                    <a:lnSpc>
                      <a:spcPts val="1605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Dosis" pitchFamily="2" charset="0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13" name="Freeform 7">
                <a:extLst>
                  <a:ext uri="{FF2B5EF4-FFF2-40B4-BE49-F238E27FC236}">
                    <a16:creationId xmlns:a16="http://schemas.microsoft.com/office/drawing/2014/main" id="{04888450-80DC-3049-7195-02CD36824DB4}"/>
                  </a:ext>
                </a:extLst>
              </p:cNvPr>
              <p:cNvSpPr/>
              <p:nvPr/>
            </p:nvSpPr>
            <p:spPr>
              <a:xfrm>
                <a:off x="800100" y="271776"/>
                <a:ext cx="929375" cy="892200"/>
              </a:xfrm>
              <a:custGeom>
                <a:avLst/>
                <a:gdLst/>
                <a:ahLst/>
                <a:cxnLst/>
                <a:rect l="l" t="t" r="r" b="b"/>
                <a:pathLst>
                  <a:path w="1239167" h="1189600">
                    <a:moveTo>
                      <a:pt x="0" y="0"/>
                    </a:moveTo>
                    <a:lnTo>
                      <a:pt x="1239167" y="0"/>
                    </a:lnTo>
                    <a:lnTo>
                      <a:pt x="1239167" y="1189600"/>
                    </a:lnTo>
                    <a:lnTo>
                      <a:pt x="0" y="1189600"/>
                    </a:lnTo>
                    <a:lnTo>
                      <a:pt x="0" y="0"/>
                    </a:lnTo>
                    <a:close/>
                  </a:path>
                </a:pathLst>
              </a:custGeom>
              <a:blipFill>
                <a:blip r:embed="rId11">
                  <a:extLst>
                    <a:ext uri="{96DAC541-7B7A-43D3-8B79-37D633B846F1}">
                      <asvg:svgBlip xmlns:asvg="http://schemas.microsoft.com/office/drawing/2016/SVG/main" r:embed="rId12"/>
                    </a:ext>
                  </a:extLst>
                </a:blip>
                <a:stretch>
                  <a:fillRect/>
                </a:stretch>
              </a:blipFill>
              <a:ln>
                <a:noFill/>
              </a:ln>
            </p:spPr>
            <p:txBody>
              <a:bodyPr/>
              <a:lstStyle/>
              <a:p>
                <a:pPr marL="0" marR="0" lvl="0" indent="0" algn="l" defTabSz="60963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MA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Dosis" pitchFamily="2" charset="0"/>
                  <a:ea typeface="+mn-ea"/>
                  <a:cs typeface="+mn-cs"/>
                </a:endParaRPr>
              </a:p>
            </p:txBody>
          </p:sp>
        </p:grpSp>
      </p:grpSp>
      <p:sp>
        <p:nvSpPr>
          <p:cNvPr id="8" name="Rectangle : coins arrondis 95">
            <a:extLst>
              <a:ext uri="{FF2B5EF4-FFF2-40B4-BE49-F238E27FC236}">
                <a16:creationId xmlns:a16="http://schemas.microsoft.com/office/drawing/2014/main" id="{E7EE83DA-B173-8904-FF97-439EA153238B}"/>
              </a:ext>
            </a:extLst>
          </p:cNvPr>
          <p:cNvSpPr/>
          <p:nvPr/>
        </p:nvSpPr>
        <p:spPr>
          <a:xfrm flipH="1" flipV="1">
            <a:off x="1925088" y="627649"/>
            <a:ext cx="5614492" cy="532201"/>
          </a:xfrm>
          <a:prstGeom prst="roundRect">
            <a:avLst>
              <a:gd name="adj" fmla="val 50000"/>
            </a:avLst>
          </a:prstGeom>
          <a:solidFill>
            <a:srgbClr val="005664"/>
          </a:solidFill>
          <a:ln w="13658" cap="flat">
            <a:solidFill>
              <a:srgbClr val="005664"/>
            </a:solidFill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sz="3600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cs typeface="Air Strip Arabic" panose="02000500000000000000" pitchFamily="2" charset="-78"/>
            </a:endParaRPr>
          </a:p>
        </p:txBody>
      </p:sp>
      <p:pic>
        <p:nvPicPr>
          <p:cNvPr id="3" name="Image 2">
            <a:extLst>
              <a:ext uri="{FF2B5EF4-FFF2-40B4-BE49-F238E27FC236}">
                <a16:creationId xmlns:a16="http://schemas.microsoft.com/office/drawing/2014/main" id="{0915D381-18F3-43EC-F8E3-6D3664766858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13"/>
          <a:stretch>
            <a:fillRect/>
          </a:stretch>
        </p:blipFill>
        <p:spPr>
          <a:xfrm>
            <a:off x="1263961" y="1751001"/>
            <a:ext cx="1275001" cy="1112031"/>
          </a:xfrm>
          <a:prstGeom prst="rect">
            <a:avLst/>
          </a:prstGeom>
        </p:spPr>
      </p:pic>
      <p:sp>
        <p:nvSpPr>
          <p:cNvPr id="5" name="Rectangle : coins arrondis 4">
            <a:extLst>
              <a:ext uri="{FF2B5EF4-FFF2-40B4-BE49-F238E27FC236}">
                <a16:creationId xmlns:a16="http://schemas.microsoft.com/office/drawing/2014/main" id="{79441BD0-3475-3561-9867-7AA9199CD64C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712984" y="3193347"/>
            <a:ext cx="2979740" cy="359073"/>
          </a:xfrm>
          <a:prstGeom prst="roundRect">
            <a:avLst>
              <a:gd name="adj" fmla="val 32258"/>
            </a:avLst>
          </a:prstGeom>
          <a:solidFill>
            <a:schemeClr val="bg1">
              <a:lumMod val="95000"/>
            </a:schemeClr>
          </a:solidFill>
          <a:ln w="1270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>
              <a:defRPr/>
            </a:pPr>
            <a:r>
              <a:rPr kumimoji="0" lang="ar-MA" sz="1600" b="1" i="0" u="none" strike="noStrike" kern="1200" cap="none" spc="0" normalizeH="0" baseline="0" noProof="0" dirty="0">
                <a:ln>
                  <a:noFill/>
                </a:ln>
                <a:solidFill>
                  <a:srgbClr val="4BACC6">
                    <a:lumMod val="50000"/>
                  </a:srgbClr>
                </a:solidFill>
                <a:effectLst/>
                <a:uLnTx/>
                <a:uFillTx/>
                <a:latin typeface="Cambria" panose="02040503050406030204" pitchFamily="18" charset="0"/>
                <a:ea typeface="Cambria" panose="02040503050406030204" pitchFamily="18" charset="0"/>
                <a:cs typeface="+mn-cs"/>
              </a:rPr>
              <a:t>حاسوب جاهز يتضمن شرائح الدرس </a:t>
            </a:r>
            <a:endParaRPr kumimoji="0" lang="fr-FR" sz="1600" b="1" i="0" u="none" strike="noStrike" kern="1200" cap="none" spc="0" normalizeH="0" baseline="0" noProof="0" dirty="0">
              <a:ln>
                <a:noFill/>
              </a:ln>
              <a:solidFill>
                <a:srgbClr val="4BACC6">
                  <a:lumMod val="50000"/>
                </a:srgbClr>
              </a:solidFill>
              <a:effectLst/>
              <a:uLnTx/>
              <a:uFillTx/>
              <a:latin typeface="Cambria" panose="02040503050406030204" pitchFamily="18" charset="0"/>
              <a:ea typeface="Cambria" panose="02040503050406030204" pitchFamily="18" charset="0"/>
              <a:cs typeface="+mn-cs"/>
            </a:endParaRPr>
          </a:p>
        </p:txBody>
      </p:sp>
      <p:sp>
        <p:nvSpPr>
          <p:cNvPr id="7" name="Rectangle : coins arrondis 6">
            <a:extLst>
              <a:ext uri="{FF2B5EF4-FFF2-40B4-BE49-F238E27FC236}">
                <a16:creationId xmlns:a16="http://schemas.microsoft.com/office/drawing/2014/main" id="{03544874-45A9-6686-34C5-F066052CB44F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4245814" y="3180438"/>
            <a:ext cx="1337413" cy="359073"/>
          </a:xfrm>
          <a:prstGeom prst="roundRect">
            <a:avLst>
              <a:gd name="adj" fmla="val 32258"/>
            </a:avLst>
          </a:prstGeom>
          <a:solidFill>
            <a:schemeClr val="bg1">
              <a:lumMod val="95000"/>
            </a:schemeClr>
          </a:solidFill>
          <a:ln w="1270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>
              <a:defRPr/>
            </a:pPr>
            <a:r>
              <a:rPr kumimoji="0" lang="ar-MA" sz="1800" b="1" i="0" u="none" strike="noStrike" kern="1200" cap="none" spc="0" normalizeH="0" baseline="0" noProof="0" dirty="0">
                <a:ln>
                  <a:noFill/>
                </a:ln>
                <a:solidFill>
                  <a:srgbClr val="4BACC6">
                    <a:lumMod val="50000"/>
                  </a:srgbClr>
                </a:solidFill>
                <a:effectLst/>
                <a:uLnTx/>
                <a:uFillTx/>
                <a:latin typeface="Cambria" panose="02040503050406030204" pitchFamily="18" charset="0"/>
                <a:ea typeface="Cambria" panose="02040503050406030204" pitchFamily="18" charset="0"/>
                <a:cs typeface="+mn-cs"/>
              </a:rPr>
              <a:t>مؤشر الليزر</a:t>
            </a:r>
            <a:endParaRPr kumimoji="0" lang="fr-FR" sz="1800" b="1" i="0" u="none" strike="noStrike" kern="1200" cap="none" spc="0" normalizeH="0" baseline="0" noProof="0" dirty="0">
              <a:ln>
                <a:noFill/>
              </a:ln>
              <a:solidFill>
                <a:srgbClr val="4BACC6">
                  <a:lumMod val="50000"/>
                </a:srgbClr>
              </a:solidFill>
              <a:effectLst/>
              <a:uLnTx/>
              <a:uFillTx/>
              <a:latin typeface="Cambria" panose="02040503050406030204" pitchFamily="18" charset="0"/>
              <a:ea typeface="Cambria" panose="02040503050406030204" pitchFamily="18" charset="0"/>
              <a:cs typeface="+mn-cs"/>
            </a:endParaRPr>
          </a:p>
        </p:txBody>
      </p:sp>
      <p:pic>
        <p:nvPicPr>
          <p:cNvPr id="17" name="Image 16">
            <a:extLst>
              <a:ext uri="{FF2B5EF4-FFF2-40B4-BE49-F238E27FC236}">
                <a16:creationId xmlns:a16="http://schemas.microsoft.com/office/drawing/2014/main" id="{F31C257C-687C-6F5D-9E7D-C97F5E15A1EC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1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3867960" y="1563756"/>
            <a:ext cx="1488108" cy="1486521"/>
          </a:xfrm>
          <a:prstGeom prst="rect">
            <a:avLst/>
          </a:prstGeom>
        </p:spPr>
      </p:pic>
      <p:sp>
        <p:nvSpPr>
          <p:cNvPr id="18" name="Rectangle : coins arrondis 17">
            <a:extLst>
              <a:ext uri="{FF2B5EF4-FFF2-40B4-BE49-F238E27FC236}">
                <a16:creationId xmlns:a16="http://schemas.microsoft.com/office/drawing/2014/main" id="{CC74D983-3D6D-C529-D40A-5A387E869EC4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6086025" y="3180438"/>
            <a:ext cx="2343704" cy="366169"/>
          </a:xfrm>
          <a:prstGeom prst="roundRect">
            <a:avLst>
              <a:gd name="adj" fmla="val 32258"/>
            </a:avLst>
          </a:prstGeom>
          <a:solidFill>
            <a:schemeClr val="bg1">
              <a:lumMod val="95000"/>
            </a:schemeClr>
          </a:solidFill>
          <a:ln w="1270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>
              <a:defRPr/>
            </a:pPr>
            <a:r>
              <a:rPr lang="ar-MA" sz="1600" b="1" dirty="0">
                <a:solidFill>
                  <a:srgbClr val="4BACC6">
                    <a:lumMod val="50000"/>
                  </a:srgbClr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مطابقة الشرائح لإطار العرض</a:t>
            </a:r>
            <a:endParaRPr kumimoji="0" lang="fr-FR" sz="1600" b="1" i="0" u="none" strike="noStrike" kern="1200" cap="none" spc="0" normalizeH="0" baseline="0" noProof="0" dirty="0">
              <a:ln>
                <a:noFill/>
              </a:ln>
              <a:solidFill>
                <a:srgbClr val="4BACC6">
                  <a:lumMod val="50000"/>
                </a:srgbClr>
              </a:solidFill>
              <a:effectLst/>
              <a:uLnTx/>
              <a:uFillTx/>
              <a:latin typeface="Cambria" panose="02040503050406030204" pitchFamily="18" charset="0"/>
              <a:ea typeface="Cambria" panose="02040503050406030204" pitchFamily="18" charset="0"/>
              <a:cs typeface="+mn-cs"/>
            </a:endParaRPr>
          </a:p>
        </p:txBody>
      </p:sp>
      <p:grpSp>
        <p:nvGrpSpPr>
          <p:cNvPr id="4" name="Groupe 3">
            <a:extLst>
              <a:ext uri="{FF2B5EF4-FFF2-40B4-BE49-F238E27FC236}">
                <a16:creationId xmlns:a16="http://schemas.microsoft.com/office/drawing/2014/main" id="{6299CF6B-CE2B-791D-2D1B-A9B2C262C87F}"/>
              </a:ext>
            </a:extLst>
          </p:cNvPr>
          <p:cNvGrpSpPr/>
          <p:nvPr/>
        </p:nvGrpSpPr>
        <p:grpSpPr>
          <a:xfrm>
            <a:off x="5730130" y="1837924"/>
            <a:ext cx="2461234" cy="938185"/>
            <a:chOff x="5927422" y="1637467"/>
            <a:chExt cx="2461234" cy="938185"/>
          </a:xfrm>
        </p:grpSpPr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EA7A319C-C059-FFD4-BBFE-F1EB25D84478}"/>
                </a:ext>
              </a:extLst>
            </p:cNvPr>
            <p:cNvSpPr/>
            <p:nvPr/>
          </p:nvSpPr>
          <p:spPr>
            <a:xfrm>
              <a:off x="5927422" y="1772816"/>
              <a:ext cx="2461234" cy="713503"/>
            </a:xfrm>
            <a:prstGeom prst="rect">
              <a:avLst/>
            </a:prstGeom>
            <a:noFill/>
            <a:ln w="19050"/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pic>
          <p:nvPicPr>
            <p:cNvPr id="29" name="Picture 28">
              <a:extLst>
                <a:ext uri="{FF2B5EF4-FFF2-40B4-BE49-F238E27FC236}">
                  <a16:creationId xmlns:a16="http://schemas.microsoft.com/office/drawing/2014/main" id="{7FBA1A5D-E1CE-DD81-3A1B-57A43E8922B0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/>
            <a:stretch>
              <a:fillRect/>
            </a:stretch>
          </p:blipFill>
          <p:spPr>
            <a:xfrm>
              <a:off x="6607429" y="1637467"/>
              <a:ext cx="1112060" cy="938185"/>
            </a:xfrm>
            <a:prstGeom prst="rect">
              <a:avLst/>
            </a:prstGeom>
          </p:spPr>
        </p:pic>
      </p:grpSp>
      <p:pic>
        <p:nvPicPr>
          <p:cNvPr id="23" name="Image 22">
            <a:extLst>
              <a:ext uri="{FF2B5EF4-FFF2-40B4-BE49-F238E27FC236}">
                <a16:creationId xmlns:a16="http://schemas.microsoft.com/office/drawing/2014/main" id="{0143C57D-A2FA-01FE-5D75-2F61EA5C90F8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159338" y="3884683"/>
            <a:ext cx="1299932" cy="1838570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sp>
        <p:nvSpPr>
          <p:cNvPr id="28" name="Rectangle : coins arrondis 27">
            <a:extLst>
              <a:ext uri="{FF2B5EF4-FFF2-40B4-BE49-F238E27FC236}">
                <a16:creationId xmlns:a16="http://schemas.microsoft.com/office/drawing/2014/main" id="{D44BCAAB-230D-8B5D-8B99-F47C451DA857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3578687" y="5845512"/>
            <a:ext cx="2461234" cy="611979"/>
          </a:xfrm>
          <a:prstGeom prst="roundRect">
            <a:avLst>
              <a:gd name="adj" fmla="val 32258"/>
            </a:avLst>
          </a:prstGeom>
          <a:solidFill>
            <a:schemeClr val="bg1">
              <a:lumMod val="95000"/>
            </a:schemeClr>
          </a:solidFill>
          <a:ln w="1270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>
              <a:defRPr/>
            </a:pPr>
            <a:r>
              <a:rPr kumimoji="0" lang="ar-MA" sz="1600" b="1" i="0" u="none" strike="noStrike" kern="1200" cap="none" spc="0" normalizeH="0" baseline="0" noProof="0" dirty="0">
                <a:ln>
                  <a:noFill/>
                </a:ln>
                <a:solidFill>
                  <a:srgbClr val="4BACC6">
                    <a:lumMod val="50000"/>
                  </a:srgbClr>
                </a:solidFill>
                <a:effectLst/>
                <a:uLnTx/>
                <a:uFillTx/>
                <a:latin typeface="Cambria" panose="02040503050406030204" pitchFamily="18" charset="0"/>
                <a:ea typeface="Cambria" panose="02040503050406030204" pitchFamily="18" charset="0"/>
                <a:cs typeface="+mn-cs"/>
              </a:rPr>
              <a:t>المذكرة اليومية</a:t>
            </a:r>
            <a:r>
              <a:rPr kumimoji="0" lang="fr-FR" sz="1600" b="1" i="0" u="none" strike="noStrike" kern="1200" cap="none" spc="0" normalizeH="0" baseline="0" noProof="0" dirty="0">
                <a:ln>
                  <a:noFill/>
                </a:ln>
                <a:solidFill>
                  <a:srgbClr val="4BACC6">
                    <a:lumMod val="50000"/>
                  </a:srgbClr>
                </a:solidFill>
                <a:effectLst/>
                <a:uLnTx/>
                <a:uFillTx/>
                <a:latin typeface="Cambria" panose="02040503050406030204" pitchFamily="18" charset="0"/>
                <a:ea typeface="Cambria" panose="02040503050406030204" pitchFamily="18" charset="0"/>
                <a:cs typeface="+mn-cs"/>
              </a:rPr>
              <a:t> -</a:t>
            </a:r>
            <a:r>
              <a:rPr lang="ar-MA" sz="1600" b="1" dirty="0">
                <a:solidFill>
                  <a:srgbClr val="4BACC6">
                    <a:lumMod val="50000"/>
                  </a:srgbClr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 </a:t>
            </a:r>
            <a:r>
              <a:rPr kumimoji="0" lang="ar-MA" sz="1600" b="1" i="0" u="none" strike="noStrike" kern="1200" cap="none" spc="0" normalizeH="0" baseline="0" noProof="0" dirty="0">
                <a:ln>
                  <a:noFill/>
                </a:ln>
                <a:solidFill>
                  <a:srgbClr val="4BACC6">
                    <a:lumMod val="50000"/>
                  </a:srgbClr>
                </a:solidFill>
                <a:effectLst/>
                <a:uLnTx/>
                <a:uFillTx/>
                <a:latin typeface="Cambria" panose="02040503050406030204" pitchFamily="18" charset="0"/>
                <a:ea typeface="Cambria" panose="02040503050406030204" pitchFamily="18" charset="0"/>
                <a:cs typeface="+mn-cs"/>
              </a:rPr>
              <a:t> خطاطة ذهنية </a:t>
            </a:r>
            <a:endParaRPr kumimoji="0" lang="fr-FR" sz="1600" b="1" i="0" u="none" strike="noStrike" kern="1200" cap="none" spc="0" normalizeH="0" baseline="0" noProof="0" dirty="0">
              <a:ln>
                <a:noFill/>
              </a:ln>
              <a:solidFill>
                <a:srgbClr val="4BACC6">
                  <a:lumMod val="50000"/>
                </a:srgbClr>
              </a:solidFill>
              <a:effectLst/>
              <a:uLnTx/>
              <a:uFillTx/>
              <a:latin typeface="Cambria" panose="02040503050406030204" pitchFamily="18" charset="0"/>
              <a:ea typeface="Cambria" panose="02040503050406030204" pitchFamily="18" charset="0"/>
              <a:cs typeface="+mn-cs"/>
            </a:endParaRPr>
          </a:p>
        </p:txBody>
      </p:sp>
      <p:sp>
        <p:nvSpPr>
          <p:cNvPr id="2" name="TextBox 9">
            <a:extLst>
              <a:ext uri="{FF2B5EF4-FFF2-40B4-BE49-F238E27FC236}">
                <a16:creationId xmlns:a16="http://schemas.microsoft.com/office/drawing/2014/main" id="{EFB9B008-41AC-BDC5-4B91-5A497B148B44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2302515" y="795475"/>
            <a:ext cx="5013577" cy="364074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marL="0" marR="0" lvl="0" indent="0" algn="ctr" defTabSz="457246" rtl="1" eaLnBrk="1" fontAlgn="auto" latinLnBrk="0" hangingPunct="1">
              <a:lnSpc>
                <a:spcPts val="2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ar-MA" sz="2800" b="1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الشروط والوسائل </a:t>
            </a:r>
            <a:r>
              <a:rPr lang="ar-MA" sz="2800" b="1" dirty="0" err="1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الديداكتيكية</a:t>
            </a:r>
            <a:r>
              <a:rPr lang="ar-MA" sz="2800" b="1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والتقنية</a:t>
            </a:r>
            <a:endParaRPr lang="en-US" sz="2800" b="1" dirty="0">
              <a:solidFill>
                <a:schemeClr val="bg1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09573710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7DDE269-912F-A2CF-AF9F-D6321323ED8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 2">
            <a:extLst>
              <a:ext uri="{FF2B5EF4-FFF2-40B4-BE49-F238E27FC236}">
                <a16:creationId xmlns:a16="http://schemas.microsoft.com/office/drawing/2014/main" id="{CCB23758-E1D3-99CB-5D9D-0F328C6D2598}"/>
              </a:ext>
            </a:extLst>
          </p:cNvPr>
          <p:cNvPicPr/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pic>
        <p:nvPicPr>
          <p:cNvPr id="7" name="Image 6">
            <a:extLst>
              <a:ext uri="{FF2B5EF4-FFF2-40B4-BE49-F238E27FC236}">
                <a16:creationId xmlns:a16="http://schemas.microsoft.com/office/drawing/2014/main" id="{C61C4D4E-DC3F-43F7-934B-06E910951E1B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279195" y="562563"/>
            <a:ext cx="983213" cy="1085493"/>
          </a:xfrm>
          <a:prstGeom prst="rect">
            <a:avLst/>
          </a:prstGeom>
        </p:spPr>
      </p:pic>
      <p:sp>
        <p:nvSpPr>
          <p:cNvPr id="14" name="ZoneTexte 7">
            <a:extLst>
              <a:ext uri="{FF2B5EF4-FFF2-40B4-BE49-F238E27FC236}">
                <a16:creationId xmlns:a16="http://schemas.microsoft.com/office/drawing/2014/main" id="{89539690-D0AB-0996-7C52-12BCD3A97D64}"/>
              </a:ext>
            </a:extLst>
          </p:cNvPr>
          <p:cNvSpPr txBox="1"/>
          <p:nvPr/>
        </p:nvSpPr>
        <p:spPr>
          <a:xfrm>
            <a:off x="890583" y="550366"/>
            <a:ext cx="763284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rtl="1"/>
            <a:r>
              <a:rPr lang="ar-MA" sz="1800" b="1" dirty="0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انتبهوا. سأقوم بالجزء الأول من النشاط 4 ... . </a:t>
            </a:r>
          </a:p>
        </p:txBody>
      </p:sp>
      <p:pic>
        <p:nvPicPr>
          <p:cNvPr id="16" name="Image 15">
            <a:extLst>
              <a:ext uri="{FF2B5EF4-FFF2-40B4-BE49-F238E27FC236}">
                <a16:creationId xmlns:a16="http://schemas.microsoft.com/office/drawing/2014/main" id="{14F70255-D548-918D-7613-641ED4F3DF1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09169" y="2442089"/>
            <a:ext cx="8305997" cy="3476929"/>
          </a:xfrm>
          <a:prstGeom prst="rect">
            <a:avLst/>
          </a:prstGeom>
        </p:spPr>
      </p:pic>
      <p:sp>
        <p:nvSpPr>
          <p:cNvPr id="17" name="Rectangle : coins arrondis 16">
            <a:extLst>
              <a:ext uri="{FF2B5EF4-FFF2-40B4-BE49-F238E27FC236}">
                <a16:creationId xmlns:a16="http://schemas.microsoft.com/office/drawing/2014/main" id="{3734C1FC-BA2F-7B5E-2C38-8AC6390E637D}"/>
              </a:ext>
            </a:extLst>
          </p:cNvPr>
          <p:cNvSpPr/>
          <p:nvPr/>
        </p:nvSpPr>
        <p:spPr>
          <a:xfrm>
            <a:off x="409169" y="2603550"/>
            <a:ext cx="1793256" cy="3315468"/>
          </a:xfrm>
          <a:prstGeom prst="round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8" name="Flèche : bas 17">
            <a:extLst>
              <a:ext uri="{FF2B5EF4-FFF2-40B4-BE49-F238E27FC236}">
                <a16:creationId xmlns:a16="http://schemas.microsoft.com/office/drawing/2014/main" id="{0CDA851F-10F5-BD69-34C7-2048176E4F95}"/>
              </a:ext>
            </a:extLst>
          </p:cNvPr>
          <p:cNvSpPr/>
          <p:nvPr/>
        </p:nvSpPr>
        <p:spPr>
          <a:xfrm>
            <a:off x="1128201" y="2095962"/>
            <a:ext cx="268414" cy="501445"/>
          </a:xfrm>
          <a:prstGeom prst="downArrow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199004228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25F301A-A3BC-BA70-30B0-FA9311B80AA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 2">
            <a:extLst>
              <a:ext uri="{FF2B5EF4-FFF2-40B4-BE49-F238E27FC236}">
                <a16:creationId xmlns:a16="http://schemas.microsoft.com/office/drawing/2014/main" id="{56CFAB48-242D-6AE6-88F6-4CB3A1987469}"/>
              </a:ext>
            </a:extLst>
          </p:cNvPr>
          <p:cNvPicPr/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pic>
        <p:nvPicPr>
          <p:cNvPr id="7" name="Image 6">
            <a:extLst>
              <a:ext uri="{FF2B5EF4-FFF2-40B4-BE49-F238E27FC236}">
                <a16:creationId xmlns:a16="http://schemas.microsoft.com/office/drawing/2014/main" id="{12236E50-0B24-8487-6FF9-2F0297CC627E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279195" y="562563"/>
            <a:ext cx="983213" cy="1085493"/>
          </a:xfrm>
          <a:prstGeom prst="rect">
            <a:avLst/>
          </a:prstGeom>
        </p:spPr>
      </p:pic>
      <p:sp>
        <p:nvSpPr>
          <p:cNvPr id="14" name="ZoneTexte 7">
            <a:extLst>
              <a:ext uri="{FF2B5EF4-FFF2-40B4-BE49-F238E27FC236}">
                <a16:creationId xmlns:a16="http://schemas.microsoft.com/office/drawing/2014/main" id="{20CDE986-0746-3FB4-7882-838D38F15873}"/>
              </a:ext>
            </a:extLst>
          </p:cNvPr>
          <p:cNvSpPr txBox="1"/>
          <p:nvPr/>
        </p:nvSpPr>
        <p:spPr>
          <a:xfrm>
            <a:off x="890583" y="550366"/>
            <a:ext cx="763284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rtl="1"/>
            <a:r>
              <a:rPr lang="ar-MA" b="1" dirty="0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لدينا العدد 4 بالأرقام في الأعلى</a:t>
            </a:r>
            <a:r>
              <a:rPr lang="ar-MA" sz="1800" b="1" dirty="0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.</a:t>
            </a:r>
          </a:p>
        </p:txBody>
      </p:sp>
      <p:pic>
        <p:nvPicPr>
          <p:cNvPr id="2" name="Image 1">
            <a:extLst>
              <a:ext uri="{FF2B5EF4-FFF2-40B4-BE49-F238E27FC236}">
                <a16:creationId xmlns:a16="http://schemas.microsoft.com/office/drawing/2014/main" id="{B2351854-B86D-313F-DD48-20F9DDFC8D1F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09169" y="2442089"/>
            <a:ext cx="8305997" cy="3476929"/>
          </a:xfrm>
          <a:prstGeom prst="rect">
            <a:avLst/>
          </a:prstGeom>
        </p:spPr>
      </p:pic>
      <p:sp>
        <p:nvSpPr>
          <p:cNvPr id="6" name="Rectangle : coins arrondis 5">
            <a:extLst>
              <a:ext uri="{FF2B5EF4-FFF2-40B4-BE49-F238E27FC236}">
                <a16:creationId xmlns:a16="http://schemas.microsoft.com/office/drawing/2014/main" id="{66A4058C-91C9-B3DC-9E88-57E76428CCB9}"/>
              </a:ext>
            </a:extLst>
          </p:cNvPr>
          <p:cNvSpPr/>
          <p:nvPr/>
        </p:nvSpPr>
        <p:spPr>
          <a:xfrm>
            <a:off x="409169" y="2603550"/>
            <a:ext cx="1793256" cy="3315468"/>
          </a:xfrm>
          <a:prstGeom prst="round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9" name="Flèche : bas 8">
            <a:extLst>
              <a:ext uri="{FF2B5EF4-FFF2-40B4-BE49-F238E27FC236}">
                <a16:creationId xmlns:a16="http://schemas.microsoft.com/office/drawing/2014/main" id="{F0D192DA-E502-3EF6-32A8-FFB01F1AF9D3}"/>
              </a:ext>
            </a:extLst>
          </p:cNvPr>
          <p:cNvSpPr/>
          <p:nvPr/>
        </p:nvSpPr>
        <p:spPr>
          <a:xfrm rot="18820670">
            <a:off x="532111" y="2353064"/>
            <a:ext cx="272976" cy="816180"/>
          </a:xfrm>
          <a:prstGeom prst="downArrow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302606851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653657F-2C3B-8FF5-FEE3-5BE99EDA454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 2">
            <a:extLst>
              <a:ext uri="{FF2B5EF4-FFF2-40B4-BE49-F238E27FC236}">
                <a16:creationId xmlns:a16="http://schemas.microsoft.com/office/drawing/2014/main" id="{84064F49-07AB-197E-B9C8-2B54382C6E34}"/>
              </a:ext>
            </a:extLst>
          </p:cNvPr>
          <p:cNvPicPr/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pic>
        <p:nvPicPr>
          <p:cNvPr id="7" name="Image 6">
            <a:extLst>
              <a:ext uri="{FF2B5EF4-FFF2-40B4-BE49-F238E27FC236}">
                <a16:creationId xmlns:a16="http://schemas.microsoft.com/office/drawing/2014/main" id="{5C405A33-A361-2463-EF3E-464B69B8E70E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279195" y="562563"/>
            <a:ext cx="983213" cy="1085493"/>
          </a:xfrm>
          <a:prstGeom prst="rect">
            <a:avLst/>
          </a:prstGeom>
        </p:spPr>
      </p:pic>
      <p:sp>
        <p:nvSpPr>
          <p:cNvPr id="14" name="ZoneTexte 7">
            <a:extLst>
              <a:ext uri="{FF2B5EF4-FFF2-40B4-BE49-F238E27FC236}">
                <a16:creationId xmlns:a16="http://schemas.microsoft.com/office/drawing/2014/main" id="{AC5E8791-B63E-7482-E286-1CB3543C76A4}"/>
              </a:ext>
            </a:extLst>
          </p:cNvPr>
          <p:cNvSpPr txBox="1"/>
          <p:nvPr/>
        </p:nvSpPr>
        <p:spPr>
          <a:xfrm>
            <a:off x="890583" y="550366"/>
            <a:ext cx="763284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rtl="1"/>
            <a:r>
              <a:rPr lang="ar-MA" sz="1800" b="1" dirty="0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إذن أعد 4 عناصر</a:t>
            </a:r>
            <a:r>
              <a:rPr lang="ar-MA" b="1" dirty="0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وأضع تحت كل عنصر خطا  بقلم الرصاص كيلا أعده مرة أخرى</a:t>
            </a:r>
            <a:r>
              <a:rPr lang="ar-MA" sz="1800" b="1" dirty="0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.</a:t>
            </a:r>
          </a:p>
          <a:p>
            <a:pPr algn="r" rtl="1"/>
            <a:r>
              <a:rPr lang="ar-MA" b="1" dirty="0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واحد، اثنان، ثلاثة، أربعة.</a:t>
            </a:r>
            <a:endParaRPr lang="ar-MA" sz="1800" b="1" dirty="0">
              <a:solidFill>
                <a:schemeClr val="bg1">
                  <a:lumMod val="65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2" name="Image 1">
            <a:extLst>
              <a:ext uri="{FF2B5EF4-FFF2-40B4-BE49-F238E27FC236}">
                <a16:creationId xmlns:a16="http://schemas.microsoft.com/office/drawing/2014/main" id="{6B1EFFC0-94CF-92EA-98BB-1D76CA806590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09169" y="2442089"/>
            <a:ext cx="8305997" cy="3476929"/>
          </a:xfrm>
          <a:prstGeom prst="rect">
            <a:avLst/>
          </a:prstGeom>
        </p:spPr>
      </p:pic>
      <p:sp>
        <p:nvSpPr>
          <p:cNvPr id="6" name="Rectangle : coins arrondis 5">
            <a:extLst>
              <a:ext uri="{FF2B5EF4-FFF2-40B4-BE49-F238E27FC236}">
                <a16:creationId xmlns:a16="http://schemas.microsoft.com/office/drawing/2014/main" id="{E6037048-1C86-08B1-3CE2-17FCF7C57FC4}"/>
              </a:ext>
            </a:extLst>
          </p:cNvPr>
          <p:cNvSpPr/>
          <p:nvPr/>
        </p:nvSpPr>
        <p:spPr>
          <a:xfrm>
            <a:off x="409169" y="2603550"/>
            <a:ext cx="1793256" cy="3315468"/>
          </a:xfrm>
          <a:prstGeom prst="round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cxnSp>
        <p:nvCxnSpPr>
          <p:cNvPr id="10" name="Connecteur droit 9">
            <a:extLst>
              <a:ext uri="{FF2B5EF4-FFF2-40B4-BE49-F238E27FC236}">
                <a16:creationId xmlns:a16="http://schemas.microsoft.com/office/drawing/2014/main" id="{5B45370F-B70F-64B4-E4C5-5FE56466EF27}"/>
              </a:ext>
            </a:extLst>
          </p:cNvPr>
          <p:cNvCxnSpPr>
            <a:cxnSpLocks/>
          </p:cNvCxnSpPr>
          <p:nvPr/>
        </p:nvCxnSpPr>
        <p:spPr>
          <a:xfrm flipV="1">
            <a:off x="992388" y="4261284"/>
            <a:ext cx="234477" cy="88490"/>
          </a:xfrm>
          <a:prstGeom prst="line">
            <a:avLst/>
          </a:prstGeom>
          <a:ln w="57150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Connecteur droit 11">
            <a:extLst>
              <a:ext uri="{FF2B5EF4-FFF2-40B4-BE49-F238E27FC236}">
                <a16:creationId xmlns:a16="http://schemas.microsoft.com/office/drawing/2014/main" id="{597D0ED7-84C5-3A48-C5F5-A8FFD49A282E}"/>
              </a:ext>
            </a:extLst>
          </p:cNvPr>
          <p:cNvCxnSpPr>
            <a:cxnSpLocks/>
          </p:cNvCxnSpPr>
          <p:nvPr/>
        </p:nvCxnSpPr>
        <p:spPr>
          <a:xfrm flipV="1">
            <a:off x="1437876" y="4305529"/>
            <a:ext cx="234477" cy="88490"/>
          </a:xfrm>
          <a:prstGeom prst="line">
            <a:avLst/>
          </a:prstGeom>
          <a:ln w="57150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Connecteur droit 12">
            <a:extLst>
              <a:ext uri="{FF2B5EF4-FFF2-40B4-BE49-F238E27FC236}">
                <a16:creationId xmlns:a16="http://schemas.microsoft.com/office/drawing/2014/main" id="{96D8460B-E912-1335-1EFC-4B2FE53A1152}"/>
              </a:ext>
            </a:extLst>
          </p:cNvPr>
          <p:cNvCxnSpPr>
            <a:cxnSpLocks/>
          </p:cNvCxnSpPr>
          <p:nvPr/>
        </p:nvCxnSpPr>
        <p:spPr>
          <a:xfrm flipV="1">
            <a:off x="1447355" y="4890549"/>
            <a:ext cx="234477" cy="88490"/>
          </a:xfrm>
          <a:prstGeom prst="line">
            <a:avLst/>
          </a:prstGeom>
          <a:ln w="57150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Connecteur droit 14">
            <a:extLst>
              <a:ext uri="{FF2B5EF4-FFF2-40B4-BE49-F238E27FC236}">
                <a16:creationId xmlns:a16="http://schemas.microsoft.com/office/drawing/2014/main" id="{B2DF41B0-AA5D-47F1-A56C-04BFE9D7D0E6}"/>
              </a:ext>
            </a:extLst>
          </p:cNvPr>
          <p:cNvCxnSpPr>
            <a:cxnSpLocks/>
          </p:cNvCxnSpPr>
          <p:nvPr/>
        </p:nvCxnSpPr>
        <p:spPr>
          <a:xfrm flipV="1">
            <a:off x="927390" y="4890549"/>
            <a:ext cx="234477" cy="88490"/>
          </a:xfrm>
          <a:prstGeom prst="line">
            <a:avLst/>
          </a:prstGeom>
          <a:ln w="57150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9" name="Image 18" descr="Une image contenant outil d’écriture, fournitures de bureau, crayon, papeterie&#10;&#10;Description générée automatiquement">
            <a:extLst>
              <a:ext uri="{FF2B5EF4-FFF2-40B4-BE49-F238E27FC236}">
                <a16:creationId xmlns:a16="http://schemas.microsoft.com/office/drawing/2014/main" id="{8732CCFA-D517-5D8F-18DF-F63C34D2689C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9404753" flipH="1">
            <a:off x="315583" y="3955188"/>
            <a:ext cx="601993" cy="6253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2377537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823E39E-3070-8E3F-CB0A-6B0FD442723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 2">
            <a:extLst>
              <a:ext uri="{FF2B5EF4-FFF2-40B4-BE49-F238E27FC236}">
                <a16:creationId xmlns:a16="http://schemas.microsoft.com/office/drawing/2014/main" id="{8F3D88DD-FD04-A38D-8E34-DB398AD92F75}"/>
              </a:ext>
            </a:extLst>
          </p:cNvPr>
          <p:cNvPicPr/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pic>
        <p:nvPicPr>
          <p:cNvPr id="21" name="Image 20">
            <a:extLst>
              <a:ext uri="{FF2B5EF4-FFF2-40B4-BE49-F238E27FC236}">
                <a16:creationId xmlns:a16="http://schemas.microsoft.com/office/drawing/2014/main" id="{D334BE5A-C595-4251-DE20-E0DF07BC29B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09168" y="2442088"/>
            <a:ext cx="8305997" cy="3476929"/>
          </a:xfrm>
          <a:prstGeom prst="rect">
            <a:avLst/>
          </a:prstGeom>
        </p:spPr>
      </p:pic>
      <p:pic>
        <p:nvPicPr>
          <p:cNvPr id="7" name="Image 6">
            <a:extLst>
              <a:ext uri="{FF2B5EF4-FFF2-40B4-BE49-F238E27FC236}">
                <a16:creationId xmlns:a16="http://schemas.microsoft.com/office/drawing/2014/main" id="{29CCDB40-DD32-261A-AF4D-481D906EF795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279195" y="562563"/>
            <a:ext cx="983213" cy="1085493"/>
          </a:xfrm>
          <a:prstGeom prst="rect">
            <a:avLst/>
          </a:prstGeom>
        </p:spPr>
      </p:pic>
      <p:sp>
        <p:nvSpPr>
          <p:cNvPr id="14" name="ZoneTexte 7">
            <a:extLst>
              <a:ext uri="{FF2B5EF4-FFF2-40B4-BE49-F238E27FC236}">
                <a16:creationId xmlns:a16="http://schemas.microsoft.com/office/drawing/2014/main" id="{A3A09515-144A-2E77-7F2F-72AECEEFAD4E}"/>
              </a:ext>
            </a:extLst>
          </p:cNvPr>
          <p:cNvSpPr txBox="1"/>
          <p:nvPr/>
        </p:nvSpPr>
        <p:spPr>
          <a:xfrm>
            <a:off x="890583" y="550366"/>
            <a:ext cx="763284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rtl="1"/>
            <a:r>
              <a:rPr lang="ar-MA" b="1" dirty="0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الآن، احيط بخط العناصر الأربعة التي قمت بعدها هكذا</a:t>
            </a:r>
            <a:r>
              <a:rPr lang="ar-MA" sz="1800" b="1" dirty="0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.</a:t>
            </a:r>
          </a:p>
        </p:txBody>
      </p:sp>
      <p:sp>
        <p:nvSpPr>
          <p:cNvPr id="5" name="Rectangle : coins arrondis 4">
            <a:extLst>
              <a:ext uri="{FF2B5EF4-FFF2-40B4-BE49-F238E27FC236}">
                <a16:creationId xmlns:a16="http://schemas.microsoft.com/office/drawing/2014/main" id="{319B3A0C-74FE-5586-09B8-E62E7C1A5A71}"/>
              </a:ext>
            </a:extLst>
          </p:cNvPr>
          <p:cNvSpPr/>
          <p:nvPr/>
        </p:nvSpPr>
        <p:spPr>
          <a:xfrm>
            <a:off x="409169" y="2603550"/>
            <a:ext cx="1793256" cy="3315468"/>
          </a:xfrm>
          <a:prstGeom prst="round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cxnSp>
        <p:nvCxnSpPr>
          <p:cNvPr id="10" name="Connecteur droit 9">
            <a:extLst>
              <a:ext uri="{FF2B5EF4-FFF2-40B4-BE49-F238E27FC236}">
                <a16:creationId xmlns:a16="http://schemas.microsoft.com/office/drawing/2014/main" id="{B3D63C6F-79BE-20F9-503C-2E478A2BE862}"/>
              </a:ext>
            </a:extLst>
          </p:cNvPr>
          <p:cNvCxnSpPr>
            <a:cxnSpLocks/>
          </p:cNvCxnSpPr>
          <p:nvPr/>
        </p:nvCxnSpPr>
        <p:spPr>
          <a:xfrm flipV="1">
            <a:off x="992388" y="4261284"/>
            <a:ext cx="234477" cy="88490"/>
          </a:xfrm>
          <a:prstGeom prst="line">
            <a:avLst/>
          </a:prstGeom>
          <a:ln w="57150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Connecteur droit 10">
            <a:extLst>
              <a:ext uri="{FF2B5EF4-FFF2-40B4-BE49-F238E27FC236}">
                <a16:creationId xmlns:a16="http://schemas.microsoft.com/office/drawing/2014/main" id="{A02A3725-5101-1AF7-17EC-8B577B6AC913}"/>
              </a:ext>
            </a:extLst>
          </p:cNvPr>
          <p:cNvCxnSpPr>
            <a:cxnSpLocks/>
          </p:cNvCxnSpPr>
          <p:nvPr/>
        </p:nvCxnSpPr>
        <p:spPr>
          <a:xfrm flipV="1">
            <a:off x="1437876" y="4305529"/>
            <a:ext cx="234477" cy="88490"/>
          </a:xfrm>
          <a:prstGeom prst="line">
            <a:avLst/>
          </a:prstGeom>
          <a:ln w="57150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Connecteur droit 11">
            <a:extLst>
              <a:ext uri="{FF2B5EF4-FFF2-40B4-BE49-F238E27FC236}">
                <a16:creationId xmlns:a16="http://schemas.microsoft.com/office/drawing/2014/main" id="{DA97711A-18DB-BB79-F460-707082FB8A94}"/>
              </a:ext>
            </a:extLst>
          </p:cNvPr>
          <p:cNvCxnSpPr>
            <a:cxnSpLocks/>
          </p:cNvCxnSpPr>
          <p:nvPr/>
        </p:nvCxnSpPr>
        <p:spPr>
          <a:xfrm flipV="1">
            <a:off x="1447355" y="4890549"/>
            <a:ext cx="234477" cy="88490"/>
          </a:xfrm>
          <a:prstGeom prst="line">
            <a:avLst/>
          </a:prstGeom>
          <a:ln w="57150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Connecteur droit 12">
            <a:extLst>
              <a:ext uri="{FF2B5EF4-FFF2-40B4-BE49-F238E27FC236}">
                <a16:creationId xmlns:a16="http://schemas.microsoft.com/office/drawing/2014/main" id="{241937E5-5BA5-6A2E-1AB6-1836257C8AF6}"/>
              </a:ext>
            </a:extLst>
          </p:cNvPr>
          <p:cNvCxnSpPr>
            <a:cxnSpLocks/>
          </p:cNvCxnSpPr>
          <p:nvPr/>
        </p:nvCxnSpPr>
        <p:spPr>
          <a:xfrm flipV="1">
            <a:off x="927390" y="4890549"/>
            <a:ext cx="234477" cy="88490"/>
          </a:xfrm>
          <a:prstGeom prst="line">
            <a:avLst/>
          </a:prstGeom>
          <a:ln w="57150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60188990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078F026-DC79-14D3-2DD1-A20C6846B0A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 2">
            <a:extLst>
              <a:ext uri="{FF2B5EF4-FFF2-40B4-BE49-F238E27FC236}">
                <a16:creationId xmlns:a16="http://schemas.microsoft.com/office/drawing/2014/main" id="{E9883627-90F1-F9B3-CC7C-7E58F728A0A5}"/>
              </a:ext>
            </a:extLst>
          </p:cNvPr>
          <p:cNvPicPr/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6" name="Google Shape;462;p24">
            <a:extLst>
              <a:ext uri="{FF2B5EF4-FFF2-40B4-BE49-F238E27FC236}">
                <a16:creationId xmlns:a16="http://schemas.microsoft.com/office/drawing/2014/main" id="{A90060DA-8BCB-9E48-79E8-B1CA72B40A3A}"/>
              </a:ext>
            </a:extLst>
          </p:cNvPr>
          <p:cNvSpPr txBox="1"/>
          <p:nvPr/>
        </p:nvSpPr>
        <p:spPr>
          <a:xfrm>
            <a:off x="1144915" y="466059"/>
            <a:ext cx="7315199" cy="61552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0950" tIns="30467" rIns="60950" bIns="30467" anchor="t" anchorCtr="0">
            <a:spAutoFit/>
          </a:bodyPr>
          <a:lstStyle/>
          <a:p>
            <a:pPr algn="r" rtl="1"/>
            <a:r>
              <a:rPr lang="ar-MA" b="1" dirty="0">
                <a:solidFill>
                  <a:srgbClr val="A5A5A5"/>
                </a:solidFill>
                <a:latin typeface="Calibri"/>
                <a:ea typeface="Calibri"/>
                <a:cs typeface="Calibri"/>
                <a:sym typeface="Calibri"/>
              </a:rPr>
              <a:t>الآن سنشتغل على كراسة الرياضيات. الصفحة 17. النشاط 4.</a:t>
            </a:r>
          </a:p>
          <a:p>
            <a:pPr algn="r" rtl="1"/>
            <a:r>
              <a:rPr lang="ar-MA" b="1" dirty="0">
                <a:solidFill>
                  <a:srgbClr val="A5A5A5"/>
                </a:solidFill>
                <a:latin typeface="Calibri"/>
                <a:ea typeface="Calibri"/>
                <a:cs typeface="Calibri"/>
                <a:sym typeface="Calibri"/>
              </a:rPr>
              <a:t>أحيطوا بخط عدد العناصر المطلوبة في كل مجموعة. سأمر بين الصفوف لتقديم المساعدة.</a:t>
            </a:r>
          </a:p>
        </p:txBody>
      </p:sp>
      <p:sp>
        <p:nvSpPr>
          <p:cNvPr id="5" name="Flèche : bas 4">
            <a:extLst>
              <a:ext uri="{FF2B5EF4-FFF2-40B4-BE49-F238E27FC236}">
                <a16:creationId xmlns:a16="http://schemas.microsoft.com/office/drawing/2014/main" id="{B60073E1-6097-969A-8E88-93A4721257C3}"/>
              </a:ext>
            </a:extLst>
          </p:cNvPr>
          <p:cNvSpPr/>
          <p:nvPr/>
        </p:nvSpPr>
        <p:spPr>
          <a:xfrm>
            <a:off x="4428696" y="2013387"/>
            <a:ext cx="286607" cy="334677"/>
          </a:xfrm>
          <a:prstGeom prst="downArrow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8" name="Image 7">
            <a:extLst>
              <a:ext uri="{FF2B5EF4-FFF2-40B4-BE49-F238E27FC236}">
                <a16:creationId xmlns:a16="http://schemas.microsoft.com/office/drawing/2014/main" id="{2BD324D3-C290-2D0A-0EE0-92ACA524BE7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10000" b="90000" l="10000" r="9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395536" y="552317"/>
            <a:ext cx="895747" cy="822553"/>
          </a:xfrm>
          <a:prstGeom prst="rect">
            <a:avLst/>
          </a:prstGeom>
          <a:ln>
            <a:noFill/>
          </a:ln>
          <a:effectLst/>
        </p:spPr>
      </p:pic>
      <p:pic>
        <p:nvPicPr>
          <p:cNvPr id="2" name="Image 1">
            <a:extLst>
              <a:ext uri="{FF2B5EF4-FFF2-40B4-BE49-F238E27FC236}">
                <a16:creationId xmlns:a16="http://schemas.microsoft.com/office/drawing/2014/main" id="{7DC1EF9D-81EA-2677-E423-5ACEB8EC2F3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09168" y="2442088"/>
            <a:ext cx="8305997" cy="3476929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07F5C46C-3F94-067C-F79B-6DA5BD24012F}"/>
              </a:ext>
            </a:extLst>
          </p:cNvPr>
          <p:cNvSpPr/>
          <p:nvPr/>
        </p:nvSpPr>
        <p:spPr>
          <a:xfrm>
            <a:off x="395536" y="2379405"/>
            <a:ext cx="8305996" cy="3539611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686986867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108F9C2-D0F5-F3A4-1DCE-AE822A7E81E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3">
            <a:extLst>
              <a:ext uri="{FF2B5EF4-FFF2-40B4-BE49-F238E27FC236}">
                <a16:creationId xmlns:a16="http://schemas.microsoft.com/office/drawing/2014/main" id="{8AB8F2AB-3A53-A360-BF1F-CABABB3FDC18}"/>
              </a:ext>
            </a:extLst>
          </p:cNvPr>
          <p:cNvPicPr/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3" name="ZoneTexte 2">
            <a:extLst>
              <a:ext uri="{FF2B5EF4-FFF2-40B4-BE49-F238E27FC236}">
                <a16:creationId xmlns:a16="http://schemas.microsoft.com/office/drawing/2014/main" id="{DF8F69F4-6455-BC8B-3437-4F33B7602233}"/>
              </a:ext>
            </a:extLst>
          </p:cNvPr>
          <p:cNvSpPr txBox="1"/>
          <p:nvPr/>
        </p:nvSpPr>
        <p:spPr>
          <a:xfrm>
            <a:off x="647564" y="493832"/>
            <a:ext cx="784887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نصحح جماعة.</a:t>
            </a:r>
          </a:p>
          <a:p>
            <a:pPr marL="0" marR="0" lvl="0" indent="0" algn="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ar-MA" i="1" dirty="0">
                <a:solidFill>
                  <a:prstClr val="white">
                    <a:lumMod val="65000"/>
                  </a:prst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يتفاعل المدرس(ة) مع التلاميذ.</a:t>
            </a:r>
            <a:endParaRPr kumimoji="0" lang="ar-MA" i="1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pic>
        <p:nvPicPr>
          <p:cNvPr id="9" name="Image 8">
            <a:extLst>
              <a:ext uri="{FF2B5EF4-FFF2-40B4-BE49-F238E27FC236}">
                <a16:creationId xmlns:a16="http://schemas.microsoft.com/office/drawing/2014/main" id="{29266A25-FA39-071A-C966-B5501A626AA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49140" y="361770"/>
            <a:ext cx="1569466" cy="1119692"/>
          </a:xfrm>
          <a:prstGeom prst="rect">
            <a:avLst/>
          </a:prstGeom>
        </p:spPr>
      </p:pic>
      <p:pic>
        <p:nvPicPr>
          <p:cNvPr id="10" name="Image 9">
            <a:extLst>
              <a:ext uri="{FF2B5EF4-FFF2-40B4-BE49-F238E27FC236}">
                <a16:creationId xmlns:a16="http://schemas.microsoft.com/office/drawing/2014/main" id="{7A4D8C53-E016-DD3B-3722-2E2D0FA37A3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09168" y="2442088"/>
            <a:ext cx="8305997" cy="3476929"/>
          </a:xfrm>
          <a:prstGeom prst="rect">
            <a:avLst/>
          </a:prstGeom>
        </p:spPr>
      </p:pic>
      <p:sp>
        <p:nvSpPr>
          <p:cNvPr id="11" name="Forme libre : forme 10">
            <a:extLst>
              <a:ext uri="{FF2B5EF4-FFF2-40B4-BE49-F238E27FC236}">
                <a16:creationId xmlns:a16="http://schemas.microsoft.com/office/drawing/2014/main" id="{D2A1B622-0A99-C38C-8B8C-0E73020C7750}"/>
              </a:ext>
            </a:extLst>
          </p:cNvPr>
          <p:cNvSpPr/>
          <p:nvPr/>
        </p:nvSpPr>
        <p:spPr>
          <a:xfrm>
            <a:off x="2369574" y="3765755"/>
            <a:ext cx="1170039" cy="1150374"/>
          </a:xfrm>
          <a:custGeom>
            <a:avLst/>
            <a:gdLst>
              <a:gd name="connsiteX0" fmla="*/ 422787 w 1170039"/>
              <a:gd name="connsiteY0" fmla="*/ 0 h 1150374"/>
              <a:gd name="connsiteX1" fmla="*/ 167149 w 1170039"/>
              <a:gd name="connsiteY1" fmla="*/ 108155 h 1150374"/>
              <a:gd name="connsiteX2" fmla="*/ 9832 w 1170039"/>
              <a:gd name="connsiteY2" fmla="*/ 353961 h 1150374"/>
              <a:gd name="connsiteX3" fmla="*/ 0 w 1170039"/>
              <a:gd name="connsiteY3" fmla="*/ 442451 h 1150374"/>
              <a:gd name="connsiteX4" fmla="*/ 0 w 1170039"/>
              <a:gd name="connsiteY4" fmla="*/ 619432 h 1150374"/>
              <a:gd name="connsiteX5" fmla="*/ 49161 w 1170039"/>
              <a:gd name="connsiteY5" fmla="*/ 1042219 h 1150374"/>
              <a:gd name="connsiteX6" fmla="*/ 147484 w 1170039"/>
              <a:gd name="connsiteY6" fmla="*/ 1140542 h 1150374"/>
              <a:gd name="connsiteX7" fmla="*/ 403123 w 1170039"/>
              <a:gd name="connsiteY7" fmla="*/ 1150374 h 1150374"/>
              <a:gd name="connsiteX8" fmla="*/ 599768 w 1170039"/>
              <a:gd name="connsiteY8" fmla="*/ 934064 h 1150374"/>
              <a:gd name="connsiteX9" fmla="*/ 806245 w 1170039"/>
              <a:gd name="connsiteY9" fmla="*/ 825910 h 1150374"/>
              <a:gd name="connsiteX10" fmla="*/ 1052052 w 1170039"/>
              <a:gd name="connsiteY10" fmla="*/ 786580 h 1150374"/>
              <a:gd name="connsiteX11" fmla="*/ 1081549 w 1170039"/>
              <a:gd name="connsiteY11" fmla="*/ 727587 h 1150374"/>
              <a:gd name="connsiteX12" fmla="*/ 1170039 w 1170039"/>
              <a:gd name="connsiteY12" fmla="*/ 589935 h 1150374"/>
              <a:gd name="connsiteX13" fmla="*/ 1120878 w 1170039"/>
              <a:gd name="connsiteY13" fmla="*/ 334297 h 1150374"/>
              <a:gd name="connsiteX14" fmla="*/ 904568 w 1170039"/>
              <a:gd name="connsiteY14" fmla="*/ 147484 h 1150374"/>
              <a:gd name="connsiteX15" fmla="*/ 737420 w 1170039"/>
              <a:gd name="connsiteY15" fmla="*/ 78658 h 1150374"/>
              <a:gd name="connsiteX16" fmla="*/ 629265 w 1170039"/>
              <a:gd name="connsiteY16" fmla="*/ 49161 h 1150374"/>
              <a:gd name="connsiteX17" fmla="*/ 422787 w 1170039"/>
              <a:gd name="connsiteY17" fmla="*/ 0 h 11503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</a:cxnLst>
            <a:rect l="l" t="t" r="r" b="b"/>
            <a:pathLst>
              <a:path w="1170039" h="1150374">
                <a:moveTo>
                  <a:pt x="422787" y="0"/>
                </a:moveTo>
                <a:lnTo>
                  <a:pt x="167149" y="108155"/>
                </a:lnTo>
                <a:lnTo>
                  <a:pt x="9832" y="353961"/>
                </a:lnTo>
                <a:lnTo>
                  <a:pt x="0" y="442451"/>
                </a:lnTo>
                <a:lnTo>
                  <a:pt x="0" y="619432"/>
                </a:lnTo>
                <a:lnTo>
                  <a:pt x="49161" y="1042219"/>
                </a:lnTo>
                <a:lnTo>
                  <a:pt x="147484" y="1140542"/>
                </a:lnTo>
                <a:lnTo>
                  <a:pt x="403123" y="1150374"/>
                </a:lnTo>
                <a:lnTo>
                  <a:pt x="599768" y="934064"/>
                </a:lnTo>
                <a:lnTo>
                  <a:pt x="806245" y="825910"/>
                </a:lnTo>
                <a:lnTo>
                  <a:pt x="1052052" y="786580"/>
                </a:lnTo>
                <a:lnTo>
                  <a:pt x="1081549" y="727587"/>
                </a:lnTo>
                <a:lnTo>
                  <a:pt x="1170039" y="589935"/>
                </a:lnTo>
                <a:lnTo>
                  <a:pt x="1120878" y="334297"/>
                </a:lnTo>
                <a:lnTo>
                  <a:pt x="904568" y="147484"/>
                </a:lnTo>
                <a:lnTo>
                  <a:pt x="737420" y="78658"/>
                </a:lnTo>
                <a:lnTo>
                  <a:pt x="629265" y="49161"/>
                </a:lnTo>
                <a:lnTo>
                  <a:pt x="422787" y="0"/>
                </a:lnTo>
                <a:close/>
              </a:path>
            </a:pathLst>
          </a:custGeom>
          <a:noFill/>
          <a:ln w="19050">
            <a:solidFill>
              <a:srgbClr val="0070C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2" name="Forme libre : forme 11">
            <a:extLst>
              <a:ext uri="{FF2B5EF4-FFF2-40B4-BE49-F238E27FC236}">
                <a16:creationId xmlns:a16="http://schemas.microsoft.com/office/drawing/2014/main" id="{F361C275-5E5A-8353-D2B1-EF8F00E14AC2}"/>
              </a:ext>
            </a:extLst>
          </p:cNvPr>
          <p:cNvSpPr/>
          <p:nvPr/>
        </p:nvSpPr>
        <p:spPr>
          <a:xfrm>
            <a:off x="3991897" y="3647768"/>
            <a:ext cx="540774" cy="678426"/>
          </a:xfrm>
          <a:custGeom>
            <a:avLst/>
            <a:gdLst>
              <a:gd name="connsiteX0" fmla="*/ 255638 w 540774"/>
              <a:gd name="connsiteY0" fmla="*/ 0 h 678426"/>
              <a:gd name="connsiteX1" fmla="*/ 206477 w 540774"/>
              <a:gd name="connsiteY1" fmla="*/ 68826 h 678426"/>
              <a:gd name="connsiteX2" fmla="*/ 39329 w 540774"/>
              <a:gd name="connsiteY2" fmla="*/ 196645 h 678426"/>
              <a:gd name="connsiteX3" fmla="*/ 0 w 540774"/>
              <a:gd name="connsiteY3" fmla="*/ 383458 h 678426"/>
              <a:gd name="connsiteX4" fmla="*/ 147484 w 540774"/>
              <a:gd name="connsiteY4" fmla="*/ 619432 h 678426"/>
              <a:gd name="connsiteX5" fmla="*/ 275303 w 540774"/>
              <a:gd name="connsiteY5" fmla="*/ 678426 h 678426"/>
              <a:gd name="connsiteX6" fmla="*/ 373626 w 540774"/>
              <a:gd name="connsiteY6" fmla="*/ 648929 h 678426"/>
              <a:gd name="connsiteX7" fmla="*/ 432619 w 540774"/>
              <a:gd name="connsiteY7" fmla="*/ 629264 h 678426"/>
              <a:gd name="connsiteX8" fmla="*/ 481780 w 540774"/>
              <a:gd name="connsiteY8" fmla="*/ 570271 h 678426"/>
              <a:gd name="connsiteX9" fmla="*/ 511277 w 540774"/>
              <a:gd name="connsiteY9" fmla="*/ 481780 h 678426"/>
              <a:gd name="connsiteX10" fmla="*/ 540774 w 540774"/>
              <a:gd name="connsiteY10" fmla="*/ 383458 h 678426"/>
              <a:gd name="connsiteX11" fmla="*/ 540774 w 540774"/>
              <a:gd name="connsiteY11" fmla="*/ 255638 h 678426"/>
              <a:gd name="connsiteX12" fmla="*/ 452284 w 540774"/>
              <a:gd name="connsiteY12" fmla="*/ 137651 h 678426"/>
              <a:gd name="connsiteX13" fmla="*/ 334297 w 540774"/>
              <a:gd name="connsiteY13" fmla="*/ 19664 h 678426"/>
              <a:gd name="connsiteX14" fmla="*/ 255638 w 540774"/>
              <a:gd name="connsiteY14" fmla="*/ 0 h 6784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540774" h="678426">
                <a:moveTo>
                  <a:pt x="255638" y="0"/>
                </a:moveTo>
                <a:lnTo>
                  <a:pt x="206477" y="68826"/>
                </a:lnTo>
                <a:lnTo>
                  <a:pt x="39329" y="196645"/>
                </a:lnTo>
                <a:lnTo>
                  <a:pt x="0" y="383458"/>
                </a:lnTo>
                <a:lnTo>
                  <a:pt x="147484" y="619432"/>
                </a:lnTo>
                <a:lnTo>
                  <a:pt x="275303" y="678426"/>
                </a:lnTo>
                <a:lnTo>
                  <a:pt x="373626" y="648929"/>
                </a:lnTo>
                <a:lnTo>
                  <a:pt x="432619" y="629264"/>
                </a:lnTo>
                <a:lnTo>
                  <a:pt x="481780" y="570271"/>
                </a:lnTo>
                <a:lnTo>
                  <a:pt x="511277" y="481780"/>
                </a:lnTo>
                <a:lnTo>
                  <a:pt x="540774" y="383458"/>
                </a:lnTo>
                <a:lnTo>
                  <a:pt x="540774" y="255638"/>
                </a:lnTo>
                <a:lnTo>
                  <a:pt x="452284" y="137651"/>
                </a:lnTo>
                <a:lnTo>
                  <a:pt x="334297" y="19664"/>
                </a:lnTo>
                <a:lnTo>
                  <a:pt x="255638" y="0"/>
                </a:lnTo>
                <a:close/>
              </a:path>
            </a:pathLst>
          </a:custGeom>
          <a:noFill/>
          <a:ln w="19050">
            <a:solidFill>
              <a:srgbClr val="0070C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3" name="Forme libre : forme 12">
            <a:extLst>
              <a:ext uri="{FF2B5EF4-FFF2-40B4-BE49-F238E27FC236}">
                <a16:creationId xmlns:a16="http://schemas.microsoft.com/office/drawing/2014/main" id="{FE5819A6-EB6E-A66F-395C-4A8A1090B568}"/>
              </a:ext>
            </a:extLst>
          </p:cNvPr>
          <p:cNvSpPr/>
          <p:nvPr/>
        </p:nvSpPr>
        <p:spPr>
          <a:xfrm>
            <a:off x="5663381" y="3814916"/>
            <a:ext cx="1111045" cy="1750142"/>
          </a:xfrm>
          <a:custGeom>
            <a:avLst/>
            <a:gdLst>
              <a:gd name="connsiteX0" fmla="*/ 245806 w 1111045"/>
              <a:gd name="connsiteY0" fmla="*/ 0 h 1750142"/>
              <a:gd name="connsiteX1" fmla="*/ 49161 w 1111045"/>
              <a:gd name="connsiteY1" fmla="*/ 186813 h 1750142"/>
              <a:gd name="connsiteX2" fmla="*/ 39329 w 1111045"/>
              <a:gd name="connsiteY2" fmla="*/ 314632 h 1750142"/>
              <a:gd name="connsiteX3" fmla="*/ 0 w 1111045"/>
              <a:gd name="connsiteY3" fmla="*/ 521110 h 1750142"/>
              <a:gd name="connsiteX4" fmla="*/ 0 w 1111045"/>
              <a:gd name="connsiteY4" fmla="*/ 1052052 h 1750142"/>
              <a:gd name="connsiteX5" fmla="*/ 19664 w 1111045"/>
              <a:gd name="connsiteY5" fmla="*/ 1347019 h 1750142"/>
              <a:gd name="connsiteX6" fmla="*/ 39329 w 1111045"/>
              <a:gd name="connsiteY6" fmla="*/ 1455174 h 1750142"/>
              <a:gd name="connsiteX7" fmla="*/ 78658 w 1111045"/>
              <a:gd name="connsiteY7" fmla="*/ 1563329 h 1750142"/>
              <a:gd name="connsiteX8" fmla="*/ 196645 w 1111045"/>
              <a:gd name="connsiteY8" fmla="*/ 1691149 h 1750142"/>
              <a:gd name="connsiteX9" fmla="*/ 432619 w 1111045"/>
              <a:gd name="connsiteY9" fmla="*/ 1750142 h 1750142"/>
              <a:gd name="connsiteX10" fmla="*/ 540774 w 1111045"/>
              <a:gd name="connsiteY10" fmla="*/ 1730478 h 1750142"/>
              <a:gd name="connsiteX11" fmla="*/ 599767 w 1111045"/>
              <a:gd name="connsiteY11" fmla="*/ 1691149 h 1750142"/>
              <a:gd name="connsiteX12" fmla="*/ 776748 w 1111045"/>
              <a:gd name="connsiteY12" fmla="*/ 1563329 h 1750142"/>
              <a:gd name="connsiteX13" fmla="*/ 875071 w 1111045"/>
              <a:gd name="connsiteY13" fmla="*/ 1474839 h 1750142"/>
              <a:gd name="connsiteX14" fmla="*/ 993058 w 1111045"/>
              <a:gd name="connsiteY14" fmla="*/ 1229032 h 1750142"/>
              <a:gd name="connsiteX15" fmla="*/ 1091380 w 1111045"/>
              <a:gd name="connsiteY15" fmla="*/ 963561 h 1750142"/>
              <a:gd name="connsiteX16" fmla="*/ 1111045 w 1111045"/>
              <a:gd name="connsiteY16" fmla="*/ 599768 h 1750142"/>
              <a:gd name="connsiteX17" fmla="*/ 1091380 w 1111045"/>
              <a:gd name="connsiteY17" fmla="*/ 501445 h 1750142"/>
              <a:gd name="connsiteX18" fmla="*/ 1071716 w 1111045"/>
              <a:gd name="connsiteY18" fmla="*/ 422787 h 1750142"/>
              <a:gd name="connsiteX19" fmla="*/ 1032387 w 1111045"/>
              <a:gd name="connsiteY19" fmla="*/ 403123 h 1750142"/>
              <a:gd name="connsiteX20" fmla="*/ 963561 w 1111045"/>
              <a:gd name="connsiteY20" fmla="*/ 344129 h 1750142"/>
              <a:gd name="connsiteX21" fmla="*/ 855406 w 1111045"/>
              <a:gd name="connsiteY21" fmla="*/ 285136 h 1750142"/>
              <a:gd name="connsiteX22" fmla="*/ 698090 w 1111045"/>
              <a:gd name="connsiteY22" fmla="*/ 216310 h 1750142"/>
              <a:gd name="connsiteX23" fmla="*/ 530942 w 1111045"/>
              <a:gd name="connsiteY23" fmla="*/ 127819 h 1750142"/>
              <a:gd name="connsiteX24" fmla="*/ 403122 w 1111045"/>
              <a:gd name="connsiteY24" fmla="*/ 39329 h 1750142"/>
              <a:gd name="connsiteX25" fmla="*/ 245806 w 1111045"/>
              <a:gd name="connsiteY25" fmla="*/ 0 h 17501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</a:cxnLst>
            <a:rect l="l" t="t" r="r" b="b"/>
            <a:pathLst>
              <a:path w="1111045" h="1750142">
                <a:moveTo>
                  <a:pt x="245806" y="0"/>
                </a:moveTo>
                <a:lnTo>
                  <a:pt x="49161" y="186813"/>
                </a:lnTo>
                <a:lnTo>
                  <a:pt x="39329" y="314632"/>
                </a:lnTo>
                <a:lnTo>
                  <a:pt x="0" y="521110"/>
                </a:lnTo>
                <a:lnTo>
                  <a:pt x="0" y="1052052"/>
                </a:lnTo>
                <a:lnTo>
                  <a:pt x="19664" y="1347019"/>
                </a:lnTo>
                <a:lnTo>
                  <a:pt x="39329" y="1455174"/>
                </a:lnTo>
                <a:lnTo>
                  <a:pt x="78658" y="1563329"/>
                </a:lnTo>
                <a:lnTo>
                  <a:pt x="196645" y="1691149"/>
                </a:lnTo>
                <a:lnTo>
                  <a:pt x="432619" y="1750142"/>
                </a:lnTo>
                <a:lnTo>
                  <a:pt x="540774" y="1730478"/>
                </a:lnTo>
                <a:lnTo>
                  <a:pt x="599767" y="1691149"/>
                </a:lnTo>
                <a:lnTo>
                  <a:pt x="776748" y="1563329"/>
                </a:lnTo>
                <a:lnTo>
                  <a:pt x="875071" y="1474839"/>
                </a:lnTo>
                <a:lnTo>
                  <a:pt x="993058" y="1229032"/>
                </a:lnTo>
                <a:lnTo>
                  <a:pt x="1091380" y="963561"/>
                </a:lnTo>
                <a:lnTo>
                  <a:pt x="1111045" y="599768"/>
                </a:lnTo>
                <a:lnTo>
                  <a:pt x="1091380" y="501445"/>
                </a:lnTo>
                <a:lnTo>
                  <a:pt x="1071716" y="422787"/>
                </a:lnTo>
                <a:lnTo>
                  <a:pt x="1032387" y="403123"/>
                </a:lnTo>
                <a:lnTo>
                  <a:pt x="963561" y="344129"/>
                </a:lnTo>
                <a:lnTo>
                  <a:pt x="855406" y="285136"/>
                </a:lnTo>
                <a:lnTo>
                  <a:pt x="698090" y="216310"/>
                </a:lnTo>
                <a:lnTo>
                  <a:pt x="530942" y="127819"/>
                </a:lnTo>
                <a:lnTo>
                  <a:pt x="403122" y="39329"/>
                </a:lnTo>
                <a:lnTo>
                  <a:pt x="245806" y="0"/>
                </a:lnTo>
                <a:close/>
              </a:path>
            </a:pathLst>
          </a:custGeom>
          <a:noFill/>
          <a:ln w="19050">
            <a:solidFill>
              <a:srgbClr val="0070C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4" name="Forme libre : forme 13">
            <a:extLst>
              <a:ext uri="{FF2B5EF4-FFF2-40B4-BE49-F238E27FC236}">
                <a16:creationId xmlns:a16="http://schemas.microsoft.com/office/drawing/2014/main" id="{AF2076B0-6BBB-F80B-6801-B37339B77B86}"/>
              </a:ext>
            </a:extLst>
          </p:cNvPr>
          <p:cNvSpPr/>
          <p:nvPr/>
        </p:nvSpPr>
        <p:spPr>
          <a:xfrm>
            <a:off x="7275871" y="3814916"/>
            <a:ext cx="1111045" cy="786581"/>
          </a:xfrm>
          <a:custGeom>
            <a:avLst/>
            <a:gdLst>
              <a:gd name="connsiteX0" fmla="*/ 167148 w 1111045"/>
              <a:gd name="connsiteY0" fmla="*/ 0 h 786581"/>
              <a:gd name="connsiteX1" fmla="*/ 0 w 1111045"/>
              <a:gd name="connsiteY1" fmla="*/ 226142 h 786581"/>
              <a:gd name="connsiteX2" fmla="*/ 19664 w 1111045"/>
              <a:gd name="connsiteY2" fmla="*/ 314632 h 786581"/>
              <a:gd name="connsiteX3" fmla="*/ 176981 w 1111045"/>
              <a:gd name="connsiteY3" fmla="*/ 393290 h 786581"/>
              <a:gd name="connsiteX4" fmla="*/ 285135 w 1111045"/>
              <a:gd name="connsiteY4" fmla="*/ 481781 h 786581"/>
              <a:gd name="connsiteX5" fmla="*/ 501445 w 1111045"/>
              <a:gd name="connsiteY5" fmla="*/ 589936 h 786581"/>
              <a:gd name="connsiteX6" fmla="*/ 678426 w 1111045"/>
              <a:gd name="connsiteY6" fmla="*/ 658761 h 786581"/>
              <a:gd name="connsiteX7" fmla="*/ 993058 w 1111045"/>
              <a:gd name="connsiteY7" fmla="*/ 786581 h 786581"/>
              <a:gd name="connsiteX8" fmla="*/ 1111045 w 1111045"/>
              <a:gd name="connsiteY8" fmla="*/ 609600 h 786581"/>
              <a:gd name="connsiteX9" fmla="*/ 1081548 w 1111045"/>
              <a:gd name="connsiteY9" fmla="*/ 412955 h 786581"/>
              <a:gd name="connsiteX10" fmla="*/ 924232 w 1111045"/>
              <a:gd name="connsiteY10" fmla="*/ 304800 h 786581"/>
              <a:gd name="connsiteX11" fmla="*/ 727587 w 1111045"/>
              <a:gd name="connsiteY11" fmla="*/ 235974 h 786581"/>
              <a:gd name="connsiteX12" fmla="*/ 540774 w 1111045"/>
              <a:gd name="connsiteY12" fmla="*/ 108155 h 786581"/>
              <a:gd name="connsiteX13" fmla="*/ 403123 w 1111045"/>
              <a:gd name="connsiteY13" fmla="*/ 0 h 786581"/>
              <a:gd name="connsiteX14" fmla="*/ 167148 w 1111045"/>
              <a:gd name="connsiteY14" fmla="*/ 0 h 7865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1111045" h="786581">
                <a:moveTo>
                  <a:pt x="167148" y="0"/>
                </a:moveTo>
                <a:lnTo>
                  <a:pt x="0" y="226142"/>
                </a:lnTo>
                <a:lnTo>
                  <a:pt x="19664" y="314632"/>
                </a:lnTo>
                <a:lnTo>
                  <a:pt x="176981" y="393290"/>
                </a:lnTo>
                <a:lnTo>
                  <a:pt x="285135" y="481781"/>
                </a:lnTo>
                <a:lnTo>
                  <a:pt x="501445" y="589936"/>
                </a:lnTo>
                <a:lnTo>
                  <a:pt x="678426" y="658761"/>
                </a:lnTo>
                <a:lnTo>
                  <a:pt x="993058" y="786581"/>
                </a:lnTo>
                <a:lnTo>
                  <a:pt x="1111045" y="609600"/>
                </a:lnTo>
                <a:lnTo>
                  <a:pt x="1081548" y="412955"/>
                </a:lnTo>
                <a:lnTo>
                  <a:pt x="924232" y="304800"/>
                </a:lnTo>
                <a:lnTo>
                  <a:pt x="727587" y="235974"/>
                </a:lnTo>
                <a:lnTo>
                  <a:pt x="540774" y="108155"/>
                </a:lnTo>
                <a:lnTo>
                  <a:pt x="403123" y="0"/>
                </a:lnTo>
                <a:lnTo>
                  <a:pt x="167148" y="0"/>
                </a:lnTo>
                <a:close/>
              </a:path>
            </a:pathLst>
          </a:custGeom>
          <a:noFill/>
          <a:ln w="19050">
            <a:solidFill>
              <a:srgbClr val="0070C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05281539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2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2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animBg="1"/>
      <p:bldP spid="12" grpId="0" animBg="1"/>
      <p:bldP spid="13" grpId="0" animBg="1"/>
      <p:bldP spid="14" grpId="0" animBg="1"/>
    </p:bld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EB9550C-6E3F-2DB6-7A39-D642DE45D0D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 2">
            <a:extLst>
              <a:ext uri="{FF2B5EF4-FFF2-40B4-BE49-F238E27FC236}">
                <a16:creationId xmlns:a16="http://schemas.microsoft.com/office/drawing/2014/main" id="{DC01F7FC-6A4B-6F58-E4CE-2C6F37550C17}"/>
              </a:ext>
            </a:extLst>
          </p:cNvPr>
          <p:cNvPicPr/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pic>
        <p:nvPicPr>
          <p:cNvPr id="5" name="Image 4">
            <a:extLst>
              <a:ext uri="{FF2B5EF4-FFF2-40B4-BE49-F238E27FC236}">
                <a16:creationId xmlns:a16="http://schemas.microsoft.com/office/drawing/2014/main" id="{A0EDB0D7-534E-C847-3954-300B26785B36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66514" y="1873396"/>
            <a:ext cx="8371643" cy="3111206"/>
          </a:xfrm>
          <a:prstGeom prst="rect">
            <a:avLst/>
          </a:prstGeom>
        </p:spPr>
      </p:pic>
      <p:pic>
        <p:nvPicPr>
          <p:cNvPr id="7" name="Image 6">
            <a:extLst>
              <a:ext uri="{FF2B5EF4-FFF2-40B4-BE49-F238E27FC236}">
                <a16:creationId xmlns:a16="http://schemas.microsoft.com/office/drawing/2014/main" id="{D40E49AF-B0D3-7410-4AD4-18D2207053B8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279195" y="562563"/>
            <a:ext cx="983213" cy="1085493"/>
          </a:xfrm>
          <a:prstGeom prst="rect">
            <a:avLst/>
          </a:prstGeom>
        </p:spPr>
      </p:pic>
      <p:sp>
        <p:nvSpPr>
          <p:cNvPr id="14" name="ZoneTexte 7">
            <a:extLst>
              <a:ext uri="{FF2B5EF4-FFF2-40B4-BE49-F238E27FC236}">
                <a16:creationId xmlns:a16="http://schemas.microsoft.com/office/drawing/2014/main" id="{ED61AE50-A154-EBF5-5A9F-5EC24A2D4988}"/>
              </a:ext>
            </a:extLst>
          </p:cNvPr>
          <p:cNvSpPr txBox="1"/>
          <p:nvPr/>
        </p:nvSpPr>
        <p:spPr>
          <a:xfrm>
            <a:off x="890583" y="511038"/>
            <a:ext cx="763284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rtl="1"/>
            <a:r>
              <a:rPr lang="ar-MA" sz="1800" b="1" dirty="0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انتبهوا. سأقوم بالجزء الأول من النشاط 6.</a:t>
            </a:r>
          </a:p>
          <a:p>
            <a:pPr algn="r" rtl="1"/>
            <a:r>
              <a:rPr lang="ar-MA" b="1" dirty="0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ألاحظ تفكيك العدد 3 ثم ألون الأقراص.</a:t>
            </a:r>
            <a:r>
              <a:rPr lang="ar-MA" sz="1800" b="1" dirty="0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</a:p>
        </p:txBody>
      </p:sp>
      <p:sp>
        <p:nvSpPr>
          <p:cNvPr id="17" name="Rectangle : coins arrondis 16">
            <a:extLst>
              <a:ext uri="{FF2B5EF4-FFF2-40B4-BE49-F238E27FC236}">
                <a16:creationId xmlns:a16="http://schemas.microsoft.com/office/drawing/2014/main" id="{DA295BA4-D8A7-68BB-9768-5FBCE62F8D68}"/>
              </a:ext>
            </a:extLst>
          </p:cNvPr>
          <p:cNvSpPr/>
          <p:nvPr/>
        </p:nvSpPr>
        <p:spPr>
          <a:xfrm>
            <a:off x="360009" y="2180763"/>
            <a:ext cx="1842416" cy="2902514"/>
          </a:xfrm>
          <a:prstGeom prst="round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8" name="Flèche : bas 17">
            <a:extLst>
              <a:ext uri="{FF2B5EF4-FFF2-40B4-BE49-F238E27FC236}">
                <a16:creationId xmlns:a16="http://schemas.microsoft.com/office/drawing/2014/main" id="{E7E64F74-9282-D0BC-5D2F-CFBDED93A3AB}"/>
              </a:ext>
            </a:extLst>
          </p:cNvPr>
          <p:cNvSpPr/>
          <p:nvPr/>
        </p:nvSpPr>
        <p:spPr>
          <a:xfrm>
            <a:off x="1128201" y="1673176"/>
            <a:ext cx="268414" cy="438988"/>
          </a:xfrm>
          <a:prstGeom prst="downArrow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027305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41B0AFA-E985-03B3-99C2-5BAFAD3A2A5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 2">
            <a:extLst>
              <a:ext uri="{FF2B5EF4-FFF2-40B4-BE49-F238E27FC236}">
                <a16:creationId xmlns:a16="http://schemas.microsoft.com/office/drawing/2014/main" id="{795D38F6-9A3A-D7DC-CD5A-AA619E64F896}"/>
              </a:ext>
            </a:extLst>
          </p:cNvPr>
          <p:cNvPicPr/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pic>
        <p:nvPicPr>
          <p:cNvPr id="7" name="Image 6">
            <a:extLst>
              <a:ext uri="{FF2B5EF4-FFF2-40B4-BE49-F238E27FC236}">
                <a16:creationId xmlns:a16="http://schemas.microsoft.com/office/drawing/2014/main" id="{7BFDB40B-5473-FB24-DDB2-F001840BEB63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279195" y="562563"/>
            <a:ext cx="983213" cy="1085493"/>
          </a:xfrm>
          <a:prstGeom prst="rect">
            <a:avLst/>
          </a:prstGeom>
        </p:spPr>
      </p:pic>
      <p:sp>
        <p:nvSpPr>
          <p:cNvPr id="14" name="ZoneTexte 7">
            <a:extLst>
              <a:ext uri="{FF2B5EF4-FFF2-40B4-BE49-F238E27FC236}">
                <a16:creationId xmlns:a16="http://schemas.microsoft.com/office/drawing/2014/main" id="{61696EE0-A203-0B50-9A6C-34B972DB973D}"/>
              </a:ext>
            </a:extLst>
          </p:cNvPr>
          <p:cNvSpPr txBox="1"/>
          <p:nvPr/>
        </p:nvSpPr>
        <p:spPr>
          <a:xfrm>
            <a:off x="890583" y="520870"/>
            <a:ext cx="763284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rtl="1"/>
            <a:r>
              <a:rPr lang="ar-MA" sz="1800" b="1" dirty="0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العدد 3 هو 1 و2.</a:t>
            </a:r>
          </a:p>
          <a:p>
            <a:pPr algn="r" rtl="1"/>
            <a:r>
              <a:rPr lang="ar-MA" b="1" dirty="0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ألون قرصا واحدا بالأحمر وقرصين بالأزرق هكذا.</a:t>
            </a:r>
            <a:endParaRPr lang="ar-MA" sz="1800" b="1" dirty="0">
              <a:solidFill>
                <a:schemeClr val="bg1">
                  <a:lumMod val="65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4" name="Image 3">
            <a:extLst>
              <a:ext uri="{FF2B5EF4-FFF2-40B4-BE49-F238E27FC236}">
                <a16:creationId xmlns:a16="http://schemas.microsoft.com/office/drawing/2014/main" id="{56C1710D-00B3-ED12-BD66-85997B5993BE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66514" y="1873396"/>
            <a:ext cx="8371643" cy="3111206"/>
          </a:xfrm>
          <a:prstGeom prst="rect">
            <a:avLst/>
          </a:prstGeom>
        </p:spPr>
      </p:pic>
      <p:sp>
        <p:nvSpPr>
          <p:cNvPr id="5" name="Rectangle : coins arrondis 4">
            <a:extLst>
              <a:ext uri="{FF2B5EF4-FFF2-40B4-BE49-F238E27FC236}">
                <a16:creationId xmlns:a16="http://schemas.microsoft.com/office/drawing/2014/main" id="{580E20BD-EE79-D33B-59DF-75F199F2158D}"/>
              </a:ext>
            </a:extLst>
          </p:cNvPr>
          <p:cNvSpPr/>
          <p:nvPr/>
        </p:nvSpPr>
        <p:spPr>
          <a:xfrm>
            <a:off x="360009" y="2180763"/>
            <a:ext cx="1842416" cy="2902514"/>
          </a:xfrm>
          <a:prstGeom prst="round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8" name="Ellipse 7">
            <a:extLst>
              <a:ext uri="{FF2B5EF4-FFF2-40B4-BE49-F238E27FC236}">
                <a16:creationId xmlns:a16="http://schemas.microsoft.com/office/drawing/2014/main" id="{1ACCF4C6-8B63-E309-7923-84F61B69487A}"/>
              </a:ext>
            </a:extLst>
          </p:cNvPr>
          <p:cNvSpPr/>
          <p:nvPr/>
        </p:nvSpPr>
        <p:spPr>
          <a:xfrm>
            <a:off x="939743" y="4296696"/>
            <a:ext cx="235974" cy="235974"/>
          </a:xfrm>
          <a:prstGeom prst="ellipse">
            <a:avLst/>
          </a:prstGeom>
          <a:solidFill>
            <a:srgbClr val="FF00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0" name="Ellipse 9">
            <a:extLst>
              <a:ext uri="{FF2B5EF4-FFF2-40B4-BE49-F238E27FC236}">
                <a16:creationId xmlns:a16="http://schemas.microsoft.com/office/drawing/2014/main" id="{5CFE15AD-54EA-467A-503A-2F130925EF31}"/>
              </a:ext>
            </a:extLst>
          </p:cNvPr>
          <p:cNvSpPr/>
          <p:nvPr/>
        </p:nvSpPr>
        <p:spPr>
          <a:xfrm>
            <a:off x="1211490" y="4296696"/>
            <a:ext cx="235974" cy="235974"/>
          </a:xfrm>
          <a:prstGeom prst="ellipse">
            <a:avLst/>
          </a:prstGeom>
          <a:solidFill>
            <a:srgbClr val="0070C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1" name="Ellipse 10">
            <a:extLst>
              <a:ext uri="{FF2B5EF4-FFF2-40B4-BE49-F238E27FC236}">
                <a16:creationId xmlns:a16="http://schemas.microsoft.com/office/drawing/2014/main" id="{68D3931D-A7D2-B67E-6DB4-57250C358F51}"/>
              </a:ext>
            </a:extLst>
          </p:cNvPr>
          <p:cNvSpPr/>
          <p:nvPr/>
        </p:nvSpPr>
        <p:spPr>
          <a:xfrm>
            <a:off x="1484073" y="4296696"/>
            <a:ext cx="235974" cy="235974"/>
          </a:xfrm>
          <a:prstGeom prst="ellipse">
            <a:avLst/>
          </a:prstGeom>
          <a:solidFill>
            <a:srgbClr val="0070C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87852909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7" dur="500"/>
                                        <p:tgtEl>
                                          <p:spTgt spid="1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6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9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10" grpId="0" animBg="1"/>
      <p:bldP spid="11" grpId="0" animBg="1"/>
    </p:bld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F2601A8-1C31-79B7-0394-22D6C962479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 2">
            <a:extLst>
              <a:ext uri="{FF2B5EF4-FFF2-40B4-BE49-F238E27FC236}">
                <a16:creationId xmlns:a16="http://schemas.microsoft.com/office/drawing/2014/main" id="{57BFC730-67DC-141A-2C93-200FB170E6A2}"/>
              </a:ext>
            </a:extLst>
          </p:cNvPr>
          <p:cNvPicPr/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6" name="Google Shape;462;p24">
            <a:extLst>
              <a:ext uri="{FF2B5EF4-FFF2-40B4-BE49-F238E27FC236}">
                <a16:creationId xmlns:a16="http://schemas.microsoft.com/office/drawing/2014/main" id="{46724788-1B90-8363-ADEB-61B3854C2C7C}"/>
              </a:ext>
            </a:extLst>
          </p:cNvPr>
          <p:cNvSpPr txBox="1"/>
          <p:nvPr/>
        </p:nvSpPr>
        <p:spPr>
          <a:xfrm>
            <a:off x="1144915" y="466059"/>
            <a:ext cx="7315199" cy="61552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0950" tIns="30467" rIns="60950" bIns="30467" anchor="t" anchorCtr="0">
            <a:spAutoFit/>
          </a:bodyPr>
          <a:lstStyle/>
          <a:p>
            <a:pPr algn="r" rtl="1"/>
            <a:r>
              <a:rPr lang="ar-MA" b="1" dirty="0">
                <a:solidFill>
                  <a:srgbClr val="A5A5A5"/>
                </a:solidFill>
                <a:latin typeface="Calibri"/>
                <a:ea typeface="Calibri"/>
                <a:cs typeface="Calibri"/>
                <a:sym typeface="Calibri"/>
              </a:rPr>
              <a:t>الآن سنشتغل على كراسة الرياضيات. الصفحة 17. النشاط 6.</a:t>
            </a:r>
          </a:p>
          <a:p>
            <a:pPr algn="r" rtl="1"/>
            <a:r>
              <a:rPr lang="ar-MA" b="1" dirty="0">
                <a:solidFill>
                  <a:srgbClr val="A5A5A5"/>
                </a:solidFill>
                <a:latin typeface="Calibri"/>
                <a:ea typeface="Calibri"/>
                <a:cs typeface="Calibri"/>
                <a:sym typeface="Calibri"/>
              </a:rPr>
              <a:t>لاحظوا </a:t>
            </a:r>
            <a:r>
              <a:rPr lang="ar-MA" b="1">
                <a:solidFill>
                  <a:srgbClr val="A5A5A5"/>
                </a:solidFill>
                <a:latin typeface="Calibri"/>
                <a:ea typeface="Calibri"/>
                <a:cs typeface="Calibri"/>
                <a:sym typeface="Calibri"/>
              </a:rPr>
              <a:t>تفكيك كل عدد </a:t>
            </a:r>
            <a:r>
              <a:rPr lang="ar-MA" b="1" dirty="0">
                <a:solidFill>
                  <a:srgbClr val="A5A5A5"/>
                </a:solidFill>
                <a:latin typeface="Calibri"/>
                <a:ea typeface="Calibri"/>
                <a:cs typeface="Calibri"/>
                <a:sym typeface="Calibri"/>
              </a:rPr>
              <a:t>ثم لونوا الأقراص كما في المثال. سأمر بين الصفوف لتقديم المساعدة.</a:t>
            </a:r>
          </a:p>
        </p:txBody>
      </p:sp>
      <p:sp>
        <p:nvSpPr>
          <p:cNvPr id="5" name="Flèche : bas 4">
            <a:extLst>
              <a:ext uri="{FF2B5EF4-FFF2-40B4-BE49-F238E27FC236}">
                <a16:creationId xmlns:a16="http://schemas.microsoft.com/office/drawing/2014/main" id="{CA62BFDC-94EF-027C-B8A5-B50FEE55A993}"/>
              </a:ext>
            </a:extLst>
          </p:cNvPr>
          <p:cNvSpPr/>
          <p:nvPr/>
        </p:nvSpPr>
        <p:spPr>
          <a:xfrm>
            <a:off x="4428696" y="1374870"/>
            <a:ext cx="286607" cy="334677"/>
          </a:xfrm>
          <a:prstGeom prst="downArrow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8" name="Image 7">
            <a:extLst>
              <a:ext uri="{FF2B5EF4-FFF2-40B4-BE49-F238E27FC236}">
                <a16:creationId xmlns:a16="http://schemas.microsoft.com/office/drawing/2014/main" id="{831A7766-18DD-5793-0FB1-CF78AB2ED49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10000" b="90000" l="10000" r="9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395536" y="552317"/>
            <a:ext cx="895747" cy="822553"/>
          </a:xfrm>
          <a:prstGeom prst="rect">
            <a:avLst/>
          </a:prstGeom>
          <a:ln>
            <a:noFill/>
          </a:ln>
          <a:effectLst/>
        </p:spPr>
      </p:pic>
      <p:pic>
        <p:nvPicPr>
          <p:cNvPr id="9" name="Image 8">
            <a:extLst>
              <a:ext uri="{FF2B5EF4-FFF2-40B4-BE49-F238E27FC236}">
                <a16:creationId xmlns:a16="http://schemas.microsoft.com/office/drawing/2014/main" id="{A9381738-A5AC-5562-9854-8EC419F6A25E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66514" y="1873396"/>
            <a:ext cx="8371643" cy="3111206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F04211D1-C418-55EC-79EA-A6252B439BED}"/>
              </a:ext>
            </a:extLst>
          </p:cNvPr>
          <p:cNvSpPr/>
          <p:nvPr/>
        </p:nvSpPr>
        <p:spPr>
          <a:xfrm>
            <a:off x="346850" y="1759975"/>
            <a:ext cx="8410972" cy="3323302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826554160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17E7D5D-C9EA-B451-4899-58EC0BACDC6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3">
            <a:extLst>
              <a:ext uri="{FF2B5EF4-FFF2-40B4-BE49-F238E27FC236}">
                <a16:creationId xmlns:a16="http://schemas.microsoft.com/office/drawing/2014/main" id="{59BA42BE-2270-1BC2-3CCB-96BD98FB6B16}"/>
              </a:ext>
            </a:extLst>
          </p:cNvPr>
          <p:cNvPicPr/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3" name="ZoneTexte 2">
            <a:extLst>
              <a:ext uri="{FF2B5EF4-FFF2-40B4-BE49-F238E27FC236}">
                <a16:creationId xmlns:a16="http://schemas.microsoft.com/office/drawing/2014/main" id="{AEABCDB4-8051-E48C-79D4-A8E355CA4363}"/>
              </a:ext>
            </a:extLst>
          </p:cNvPr>
          <p:cNvSpPr txBox="1"/>
          <p:nvPr/>
        </p:nvSpPr>
        <p:spPr>
          <a:xfrm>
            <a:off x="647564" y="493832"/>
            <a:ext cx="784887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نصحح جماعة.</a:t>
            </a:r>
          </a:p>
          <a:p>
            <a:pPr marL="0" marR="0" lvl="0" indent="0" algn="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ar-MA" i="1" dirty="0">
                <a:solidFill>
                  <a:prstClr val="white">
                    <a:lumMod val="65000"/>
                  </a:prst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يتفاعل المدرس(ة) مع التلاميذ.</a:t>
            </a:r>
            <a:endParaRPr kumimoji="0" lang="ar-MA" i="1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pic>
        <p:nvPicPr>
          <p:cNvPr id="9" name="Image 8">
            <a:extLst>
              <a:ext uri="{FF2B5EF4-FFF2-40B4-BE49-F238E27FC236}">
                <a16:creationId xmlns:a16="http://schemas.microsoft.com/office/drawing/2014/main" id="{9E0F981A-5355-C234-164C-E86D50DCC46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49140" y="361770"/>
            <a:ext cx="1569466" cy="1119692"/>
          </a:xfrm>
          <a:prstGeom prst="rect">
            <a:avLst/>
          </a:prstGeom>
        </p:spPr>
      </p:pic>
      <p:pic>
        <p:nvPicPr>
          <p:cNvPr id="2" name="Image 1">
            <a:extLst>
              <a:ext uri="{FF2B5EF4-FFF2-40B4-BE49-F238E27FC236}">
                <a16:creationId xmlns:a16="http://schemas.microsoft.com/office/drawing/2014/main" id="{389AF3F7-11B8-F434-FE16-D34DBC3AD0AF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66514" y="1873396"/>
            <a:ext cx="8371643" cy="3111206"/>
          </a:xfrm>
          <a:prstGeom prst="rect">
            <a:avLst/>
          </a:prstGeom>
        </p:spPr>
      </p:pic>
      <p:sp>
        <p:nvSpPr>
          <p:cNvPr id="5" name="Ellipse 4">
            <a:extLst>
              <a:ext uri="{FF2B5EF4-FFF2-40B4-BE49-F238E27FC236}">
                <a16:creationId xmlns:a16="http://schemas.microsoft.com/office/drawing/2014/main" id="{6CC32CCD-C2BE-7AC3-4613-1B0C14BFFA3A}"/>
              </a:ext>
            </a:extLst>
          </p:cNvPr>
          <p:cNvSpPr/>
          <p:nvPr/>
        </p:nvSpPr>
        <p:spPr>
          <a:xfrm>
            <a:off x="2556387" y="4296696"/>
            <a:ext cx="235974" cy="235974"/>
          </a:xfrm>
          <a:prstGeom prst="ellipse">
            <a:avLst/>
          </a:prstGeom>
          <a:solidFill>
            <a:srgbClr val="FF00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6" name="Ellipse 5">
            <a:extLst>
              <a:ext uri="{FF2B5EF4-FFF2-40B4-BE49-F238E27FC236}">
                <a16:creationId xmlns:a16="http://schemas.microsoft.com/office/drawing/2014/main" id="{2487B4F0-E5BD-E828-BF26-EF1427955EAF}"/>
              </a:ext>
            </a:extLst>
          </p:cNvPr>
          <p:cNvSpPr/>
          <p:nvPr/>
        </p:nvSpPr>
        <p:spPr>
          <a:xfrm>
            <a:off x="2828134" y="4296696"/>
            <a:ext cx="235974" cy="235974"/>
          </a:xfrm>
          <a:prstGeom prst="ellipse">
            <a:avLst/>
          </a:prstGeom>
          <a:solidFill>
            <a:srgbClr val="FF00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7" name="Ellipse 6">
            <a:extLst>
              <a:ext uri="{FF2B5EF4-FFF2-40B4-BE49-F238E27FC236}">
                <a16:creationId xmlns:a16="http://schemas.microsoft.com/office/drawing/2014/main" id="{98394423-C669-5870-07EF-FE2703AB53DD}"/>
              </a:ext>
            </a:extLst>
          </p:cNvPr>
          <p:cNvSpPr/>
          <p:nvPr/>
        </p:nvSpPr>
        <p:spPr>
          <a:xfrm>
            <a:off x="3099881" y="4296696"/>
            <a:ext cx="235974" cy="235974"/>
          </a:xfrm>
          <a:prstGeom prst="ellipse">
            <a:avLst/>
          </a:prstGeom>
          <a:solidFill>
            <a:srgbClr val="0070C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8" name="Ellipse 7">
            <a:extLst>
              <a:ext uri="{FF2B5EF4-FFF2-40B4-BE49-F238E27FC236}">
                <a16:creationId xmlns:a16="http://schemas.microsoft.com/office/drawing/2014/main" id="{0DA581AE-D6E8-02F8-6601-357BD4A7CA0F}"/>
              </a:ext>
            </a:extLst>
          </p:cNvPr>
          <p:cNvSpPr/>
          <p:nvPr/>
        </p:nvSpPr>
        <p:spPr>
          <a:xfrm>
            <a:off x="4038338" y="4296696"/>
            <a:ext cx="235974" cy="235974"/>
          </a:xfrm>
          <a:prstGeom prst="ellipse">
            <a:avLst/>
          </a:prstGeom>
          <a:solidFill>
            <a:srgbClr val="FF00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5" name="Ellipse 14">
            <a:extLst>
              <a:ext uri="{FF2B5EF4-FFF2-40B4-BE49-F238E27FC236}">
                <a16:creationId xmlns:a16="http://schemas.microsoft.com/office/drawing/2014/main" id="{AE618143-8B21-E295-5A67-CC250D12A69C}"/>
              </a:ext>
            </a:extLst>
          </p:cNvPr>
          <p:cNvSpPr/>
          <p:nvPr/>
        </p:nvSpPr>
        <p:spPr>
          <a:xfrm>
            <a:off x="4319917" y="4296696"/>
            <a:ext cx="235974" cy="235974"/>
          </a:xfrm>
          <a:prstGeom prst="ellipse">
            <a:avLst/>
          </a:prstGeom>
          <a:solidFill>
            <a:srgbClr val="FF00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6" name="Ellipse 15">
            <a:extLst>
              <a:ext uri="{FF2B5EF4-FFF2-40B4-BE49-F238E27FC236}">
                <a16:creationId xmlns:a16="http://schemas.microsoft.com/office/drawing/2014/main" id="{18F3346F-80D8-726D-A281-85170C3141E0}"/>
              </a:ext>
            </a:extLst>
          </p:cNvPr>
          <p:cNvSpPr/>
          <p:nvPr/>
        </p:nvSpPr>
        <p:spPr>
          <a:xfrm>
            <a:off x="4591664" y="4296696"/>
            <a:ext cx="235974" cy="235974"/>
          </a:xfrm>
          <a:prstGeom prst="ellipse">
            <a:avLst/>
          </a:prstGeom>
          <a:solidFill>
            <a:srgbClr val="0070C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7" name="Ellipse 16">
            <a:extLst>
              <a:ext uri="{FF2B5EF4-FFF2-40B4-BE49-F238E27FC236}">
                <a16:creationId xmlns:a16="http://schemas.microsoft.com/office/drawing/2014/main" id="{C055584F-3938-C930-9E26-A61B78524DA0}"/>
              </a:ext>
            </a:extLst>
          </p:cNvPr>
          <p:cNvSpPr/>
          <p:nvPr/>
        </p:nvSpPr>
        <p:spPr>
          <a:xfrm>
            <a:off x="4864247" y="4296696"/>
            <a:ext cx="235974" cy="235974"/>
          </a:xfrm>
          <a:prstGeom prst="ellipse">
            <a:avLst/>
          </a:prstGeom>
          <a:solidFill>
            <a:srgbClr val="0070C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8" name="Ellipse 17">
            <a:extLst>
              <a:ext uri="{FF2B5EF4-FFF2-40B4-BE49-F238E27FC236}">
                <a16:creationId xmlns:a16="http://schemas.microsoft.com/office/drawing/2014/main" id="{7F5F68AE-3A0B-E612-7881-D35118CF5041}"/>
              </a:ext>
            </a:extLst>
          </p:cNvPr>
          <p:cNvSpPr/>
          <p:nvPr/>
        </p:nvSpPr>
        <p:spPr>
          <a:xfrm>
            <a:off x="5473847" y="4296696"/>
            <a:ext cx="235974" cy="235974"/>
          </a:xfrm>
          <a:prstGeom prst="ellipse">
            <a:avLst/>
          </a:prstGeom>
          <a:solidFill>
            <a:srgbClr val="FF00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9" name="Ellipse 18">
            <a:extLst>
              <a:ext uri="{FF2B5EF4-FFF2-40B4-BE49-F238E27FC236}">
                <a16:creationId xmlns:a16="http://schemas.microsoft.com/office/drawing/2014/main" id="{86AF9A72-7416-AC2F-9B16-5EE997724715}"/>
              </a:ext>
            </a:extLst>
          </p:cNvPr>
          <p:cNvSpPr/>
          <p:nvPr/>
        </p:nvSpPr>
        <p:spPr>
          <a:xfrm>
            <a:off x="5745594" y="4296696"/>
            <a:ext cx="235974" cy="235974"/>
          </a:xfrm>
          <a:prstGeom prst="ellipse">
            <a:avLst/>
          </a:prstGeom>
          <a:solidFill>
            <a:srgbClr val="FF00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0" name="Ellipse 19">
            <a:extLst>
              <a:ext uri="{FF2B5EF4-FFF2-40B4-BE49-F238E27FC236}">
                <a16:creationId xmlns:a16="http://schemas.microsoft.com/office/drawing/2014/main" id="{62431A8E-D701-D0E2-D5F3-E01BDE720B89}"/>
              </a:ext>
            </a:extLst>
          </p:cNvPr>
          <p:cNvSpPr/>
          <p:nvPr/>
        </p:nvSpPr>
        <p:spPr>
          <a:xfrm>
            <a:off x="6017341" y="4296696"/>
            <a:ext cx="235974" cy="235974"/>
          </a:xfrm>
          <a:prstGeom prst="ellipse">
            <a:avLst/>
          </a:prstGeom>
          <a:solidFill>
            <a:srgbClr val="FF00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1" name="Ellipse 20">
            <a:extLst>
              <a:ext uri="{FF2B5EF4-FFF2-40B4-BE49-F238E27FC236}">
                <a16:creationId xmlns:a16="http://schemas.microsoft.com/office/drawing/2014/main" id="{50A5135D-6972-E570-A6CF-BFE62B3CF6F0}"/>
              </a:ext>
            </a:extLst>
          </p:cNvPr>
          <p:cNvSpPr/>
          <p:nvPr/>
        </p:nvSpPr>
        <p:spPr>
          <a:xfrm>
            <a:off x="6289924" y="4296696"/>
            <a:ext cx="235974" cy="235974"/>
          </a:xfrm>
          <a:prstGeom prst="ellipse">
            <a:avLst/>
          </a:prstGeom>
          <a:solidFill>
            <a:srgbClr val="0070C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2" name="Ellipse 21">
            <a:extLst>
              <a:ext uri="{FF2B5EF4-FFF2-40B4-BE49-F238E27FC236}">
                <a16:creationId xmlns:a16="http://schemas.microsoft.com/office/drawing/2014/main" id="{90AB6B07-F248-80D7-3D1C-F82C28FEB0AF}"/>
              </a:ext>
            </a:extLst>
          </p:cNvPr>
          <p:cNvSpPr/>
          <p:nvPr/>
        </p:nvSpPr>
        <p:spPr>
          <a:xfrm>
            <a:off x="6562507" y="4296696"/>
            <a:ext cx="235974" cy="235974"/>
          </a:xfrm>
          <a:prstGeom prst="ellipse">
            <a:avLst/>
          </a:prstGeom>
          <a:solidFill>
            <a:srgbClr val="0070C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3" name="Ellipse 22">
            <a:extLst>
              <a:ext uri="{FF2B5EF4-FFF2-40B4-BE49-F238E27FC236}">
                <a16:creationId xmlns:a16="http://schemas.microsoft.com/office/drawing/2014/main" id="{979BAFBE-00FE-DA0B-A2E1-11D47AEB8307}"/>
              </a:ext>
            </a:extLst>
          </p:cNvPr>
          <p:cNvSpPr/>
          <p:nvPr/>
        </p:nvSpPr>
        <p:spPr>
          <a:xfrm>
            <a:off x="7170020" y="4296696"/>
            <a:ext cx="235974" cy="235974"/>
          </a:xfrm>
          <a:prstGeom prst="ellipse">
            <a:avLst/>
          </a:prstGeom>
          <a:solidFill>
            <a:srgbClr val="FF00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4" name="Ellipse 23">
            <a:extLst>
              <a:ext uri="{FF2B5EF4-FFF2-40B4-BE49-F238E27FC236}">
                <a16:creationId xmlns:a16="http://schemas.microsoft.com/office/drawing/2014/main" id="{3B75BCB4-11DD-823B-55D4-AF9119A6149B}"/>
              </a:ext>
            </a:extLst>
          </p:cNvPr>
          <p:cNvSpPr/>
          <p:nvPr/>
        </p:nvSpPr>
        <p:spPr>
          <a:xfrm>
            <a:off x="7441767" y="4296696"/>
            <a:ext cx="235974" cy="235974"/>
          </a:xfrm>
          <a:prstGeom prst="ellipse">
            <a:avLst/>
          </a:prstGeom>
          <a:solidFill>
            <a:srgbClr val="0070C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5" name="Ellipse 24">
            <a:extLst>
              <a:ext uri="{FF2B5EF4-FFF2-40B4-BE49-F238E27FC236}">
                <a16:creationId xmlns:a16="http://schemas.microsoft.com/office/drawing/2014/main" id="{47251B23-7354-C470-B372-CDA7A54221CC}"/>
              </a:ext>
            </a:extLst>
          </p:cNvPr>
          <p:cNvSpPr/>
          <p:nvPr/>
        </p:nvSpPr>
        <p:spPr>
          <a:xfrm>
            <a:off x="7713514" y="4296696"/>
            <a:ext cx="235974" cy="235974"/>
          </a:xfrm>
          <a:prstGeom prst="ellipse">
            <a:avLst/>
          </a:prstGeom>
          <a:solidFill>
            <a:srgbClr val="0070C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6" name="Ellipse 25">
            <a:extLst>
              <a:ext uri="{FF2B5EF4-FFF2-40B4-BE49-F238E27FC236}">
                <a16:creationId xmlns:a16="http://schemas.microsoft.com/office/drawing/2014/main" id="{5C3B6905-70EC-0CAB-8087-9963E9D0422B}"/>
              </a:ext>
            </a:extLst>
          </p:cNvPr>
          <p:cNvSpPr/>
          <p:nvPr/>
        </p:nvSpPr>
        <p:spPr>
          <a:xfrm>
            <a:off x="7986097" y="4296696"/>
            <a:ext cx="235974" cy="235974"/>
          </a:xfrm>
          <a:prstGeom prst="ellipse">
            <a:avLst/>
          </a:prstGeom>
          <a:solidFill>
            <a:srgbClr val="0070C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7" name="Ellipse 26">
            <a:extLst>
              <a:ext uri="{FF2B5EF4-FFF2-40B4-BE49-F238E27FC236}">
                <a16:creationId xmlns:a16="http://schemas.microsoft.com/office/drawing/2014/main" id="{2EAD9C5A-8DDB-A33E-7847-C6FD154689A4}"/>
              </a:ext>
            </a:extLst>
          </p:cNvPr>
          <p:cNvSpPr/>
          <p:nvPr/>
        </p:nvSpPr>
        <p:spPr>
          <a:xfrm>
            <a:off x="8258680" y="4296696"/>
            <a:ext cx="235974" cy="235974"/>
          </a:xfrm>
          <a:prstGeom prst="ellipse">
            <a:avLst/>
          </a:prstGeom>
          <a:solidFill>
            <a:srgbClr val="0070C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8919321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0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0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3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8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1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2" fill="hold">
                      <p:stCondLst>
                        <p:cond delay="indefinite"/>
                      </p:stCondLst>
                      <p:childTnLst>
                        <p:par>
                          <p:cTn id="33" fill="hold">
                            <p:stCondLst>
                              <p:cond delay="0"/>
                            </p:stCondLst>
                            <p:childTnLst>
                              <p:par>
                                <p:cTn id="34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6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9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2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7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0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>
                      <p:stCondLst>
                        <p:cond delay="indefinite"/>
                      </p:stCondLst>
                      <p:childTnLst>
                        <p:par>
                          <p:cTn id="52" fill="hold">
                            <p:stCondLst>
                              <p:cond delay="0"/>
                            </p:stCondLst>
                            <p:childTnLst>
                              <p:par>
                                <p:cTn id="53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5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6" fill="hold">
                      <p:stCondLst>
                        <p:cond delay="indefinite"/>
                      </p:stCondLst>
                      <p:childTnLst>
                        <p:par>
                          <p:cTn id="57" fill="hold">
                            <p:stCondLst>
                              <p:cond delay="0"/>
                            </p:stCondLst>
                            <p:childTnLst>
                              <p:par>
                                <p:cTn id="58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60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1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63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4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66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7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69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6" grpId="0" animBg="1"/>
      <p:bldP spid="7" grpId="0" animBg="1"/>
      <p:bldP spid="8" grpId="0" animBg="1"/>
      <p:bldP spid="15" grpId="0" animBg="1"/>
      <p:bldP spid="16" grpId="0" animBg="1"/>
      <p:bldP spid="17" grpId="0" animBg="1"/>
      <p:bldP spid="18" grpId="0" animBg="1"/>
      <p:bldP spid="19" grpId="0" animBg="1"/>
      <p:bldP spid="20" grpId="0" animBg="1"/>
      <p:bldP spid="21" grpId="0" animBg="1"/>
      <p:bldP spid="22" grpId="0" animBg="1"/>
      <p:bldP spid="23" grpId="0" animBg="1"/>
      <p:bldP spid="24" grpId="0" animBg="1"/>
      <p:bldP spid="25" grpId="0" animBg="1"/>
      <p:bldP spid="26" grpId="0" animBg="1"/>
      <p:bldP spid="27" grpId="0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CBF137F-5071-86EF-BC7D-A05FA865C93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e 1">
            <a:extLst>
              <a:ext uri="{FF2B5EF4-FFF2-40B4-BE49-F238E27FC236}">
                <a16:creationId xmlns:a16="http://schemas.microsoft.com/office/drawing/2014/main" id="{97D6BF70-B609-50B5-F128-0D526B457F0E}"/>
              </a:ext>
            </a:extLst>
          </p:cNvPr>
          <p:cNvGrpSpPr/>
          <p:nvPr/>
        </p:nvGrpSpPr>
        <p:grpSpPr>
          <a:xfrm>
            <a:off x="312516" y="143093"/>
            <a:ext cx="8518967" cy="6196583"/>
            <a:chOff x="312517" y="227366"/>
            <a:chExt cx="8518967" cy="6196583"/>
          </a:xfrm>
        </p:grpSpPr>
        <p:sp>
          <p:nvSpPr>
            <p:cNvPr id="4" name="Rectangle : coins arrondis 3">
              <a:extLst>
                <a:ext uri="{FF2B5EF4-FFF2-40B4-BE49-F238E27FC236}">
                  <a16:creationId xmlns:a16="http://schemas.microsoft.com/office/drawing/2014/main" id="{06825DB6-3E52-8938-AB94-C49AB1934F77}"/>
                </a:ext>
              </a:extLst>
            </p:cNvPr>
            <p:cNvSpPr/>
            <p:nvPr/>
          </p:nvSpPr>
          <p:spPr>
            <a:xfrm>
              <a:off x="312517" y="636608"/>
              <a:ext cx="8518967" cy="5787341"/>
            </a:xfrm>
            <a:prstGeom prst="roundRect">
              <a:avLst>
                <a:gd name="adj" fmla="val 2439"/>
              </a:avLst>
            </a:prstGeom>
            <a:solidFill>
              <a:srgbClr val="F4FAFA"/>
            </a:solidFill>
            <a:ln w="28575">
              <a:solidFill>
                <a:srgbClr val="005664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" name="Freeform 7">
              <a:extLst>
                <a:ext uri="{FF2B5EF4-FFF2-40B4-BE49-F238E27FC236}">
                  <a16:creationId xmlns:a16="http://schemas.microsoft.com/office/drawing/2014/main" id="{56B4B956-43A2-B7FE-F35D-64A5CB1A23E1}"/>
                </a:ext>
              </a:extLst>
            </p:cNvPr>
            <p:cNvSpPr/>
            <p:nvPr/>
          </p:nvSpPr>
          <p:spPr>
            <a:xfrm>
              <a:off x="625110" y="227366"/>
              <a:ext cx="622415" cy="562981"/>
            </a:xfrm>
            <a:custGeom>
              <a:avLst/>
              <a:gdLst/>
              <a:ahLst/>
              <a:cxnLst/>
              <a:rect l="l" t="t" r="r" b="b"/>
              <a:pathLst>
                <a:path w="1239167" h="1189600">
                  <a:moveTo>
                    <a:pt x="0" y="0"/>
                  </a:moveTo>
                  <a:lnTo>
                    <a:pt x="1239167" y="0"/>
                  </a:lnTo>
                  <a:lnTo>
                    <a:pt x="1239167" y="1189600"/>
                  </a:lnTo>
                  <a:lnTo>
                    <a:pt x="0" y="1189600"/>
                  </a:lnTo>
                  <a:lnTo>
                    <a:pt x="0" y="0"/>
                  </a:lnTo>
                  <a:close/>
                </a:path>
              </a:pathLst>
            </a:custGeom>
            <a:blipFill>
              <a:blip r:embed="rId2">
                <a:extLs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a:blipFill>
          </p:spPr>
          <p:txBody>
            <a:bodyPr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MA" sz="428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endParaRPr>
            </a:p>
          </p:txBody>
        </p:sp>
        <p:sp>
          <p:nvSpPr>
            <p:cNvPr id="90" name="Rectangle : coins arrondis 89">
              <a:extLst>
                <a:ext uri="{FF2B5EF4-FFF2-40B4-BE49-F238E27FC236}">
                  <a16:creationId xmlns:a16="http://schemas.microsoft.com/office/drawing/2014/main" id="{A111852C-4360-26A7-680C-E10AF674C79B}"/>
                </a:ext>
              </a:extLst>
            </p:cNvPr>
            <p:cNvSpPr/>
            <p:nvPr/>
          </p:nvSpPr>
          <p:spPr>
            <a:xfrm flipH="1" flipV="1">
              <a:off x="2253541" y="368699"/>
              <a:ext cx="4636919" cy="532201"/>
            </a:xfrm>
            <a:prstGeom prst="roundRect">
              <a:avLst>
                <a:gd name="adj" fmla="val 50000"/>
              </a:avLst>
            </a:prstGeom>
            <a:solidFill>
              <a:srgbClr val="005664"/>
            </a:solidFill>
            <a:ln w="13658" cap="flat">
              <a:solidFill>
                <a:srgbClr val="005664"/>
              </a:soli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3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ir Strip Arabic" panose="02000500000000000000" pitchFamily="2" charset="-78"/>
                <a:ea typeface="+mn-ea"/>
                <a:cs typeface="Air Strip Arabic" panose="02000500000000000000" pitchFamily="2" charset="-78"/>
              </a:endParaRPr>
            </a:p>
          </p:txBody>
        </p:sp>
      </p:grpSp>
      <p:sp>
        <p:nvSpPr>
          <p:cNvPr id="114" name="ZoneTexte 5">
            <a:extLst>
              <a:ext uri="{FF2B5EF4-FFF2-40B4-BE49-F238E27FC236}">
                <a16:creationId xmlns:a16="http://schemas.microsoft.com/office/drawing/2014/main" id="{67D4F2B8-E3B3-F6D0-E2D8-178436CD494A}"/>
              </a:ext>
            </a:extLst>
          </p:cNvPr>
          <p:cNvSpPr txBox="1"/>
          <p:nvPr/>
        </p:nvSpPr>
        <p:spPr>
          <a:xfrm>
            <a:off x="7398676" y="277065"/>
            <a:ext cx="143280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خاص بالأستاذ</a:t>
            </a:r>
            <a:endParaRPr kumimoji="0" lang="fr-MA" sz="1800" b="1" i="1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50000"/>
                  <a:lumOff val="50000"/>
                </a:prstClr>
              </a:solidFill>
              <a:effectLst/>
              <a:uLnTx/>
              <a:uFillTx/>
              <a:latin typeface="Microsoft Uighur" panose="02000000000000000000" pitchFamily="2" charset="-78"/>
              <a:ea typeface="+mn-ea"/>
              <a:cs typeface="Microsoft Uighur" panose="02000000000000000000" pitchFamily="2" charset="-78"/>
            </a:endParaRPr>
          </a:p>
        </p:txBody>
      </p:sp>
      <p:grpSp>
        <p:nvGrpSpPr>
          <p:cNvPr id="10" name="Groupe 9">
            <a:extLst>
              <a:ext uri="{FF2B5EF4-FFF2-40B4-BE49-F238E27FC236}">
                <a16:creationId xmlns:a16="http://schemas.microsoft.com/office/drawing/2014/main" id="{FE6E00ED-77EF-042D-112C-4D9B506448CE}"/>
              </a:ext>
            </a:extLst>
          </p:cNvPr>
          <p:cNvGrpSpPr/>
          <p:nvPr/>
        </p:nvGrpSpPr>
        <p:grpSpPr>
          <a:xfrm>
            <a:off x="431540" y="1609115"/>
            <a:ext cx="8280919" cy="754100"/>
            <a:chOff x="431540" y="1609115"/>
            <a:chExt cx="8280919" cy="754100"/>
          </a:xfrm>
        </p:grpSpPr>
        <p:sp>
          <p:nvSpPr>
            <p:cNvPr id="45" name="Rectangle : coins arrondis 44">
              <a:extLst>
                <a:ext uri="{FF2B5EF4-FFF2-40B4-BE49-F238E27FC236}">
                  <a16:creationId xmlns:a16="http://schemas.microsoft.com/office/drawing/2014/main" id="{5A3D4305-FB29-7796-6B8C-33685E968CAF}"/>
                </a:ext>
              </a:extLst>
            </p:cNvPr>
            <p:cNvSpPr/>
            <p:nvPr/>
          </p:nvSpPr>
          <p:spPr>
            <a:xfrm>
              <a:off x="431540" y="1609115"/>
              <a:ext cx="6729087" cy="754100"/>
            </a:xfrm>
            <a:prstGeom prst="roundRect">
              <a:avLst>
                <a:gd name="adj" fmla="val 15858"/>
              </a:avLst>
            </a:prstGeom>
            <a:solidFill>
              <a:schemeClr val="bg1"/>
            </a:solidFill>
            <a:ln>
              <a:solidFill>
                <a:srgbClr val="70B1B6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ar-MA" sz="2800" b="1" kern="0" dirty="0">
                  <a:solidFill>
                    <a:srgbClr val="106585"/>
                  </a:solidFill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عد وتعداد عناصر مجموعة من 1 إلى 5</a:t>
              </a:r>
              <a:endParaRPr kumimoji="0" lang="ar-MA" sz="2800" b="1" i="0" u="none" strike="noStrike" kern="0" cap="none" spc="0" normalizeH="0" baseline="0" noProof="0" dirty="0">
                <a:ln>
                  <a:noFill/>
                </a:ln>
                <a:solidFill>
                  <a:srgbClr val="106585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44" name="Rectangle : coins arrondis 43">
              <a:extLst>
                <a:ext uri="{FF2B5EF4-FFF2-40B4-BE49-F238E27FC236}">
                  <a16:creationId xmlns:a16="http://schemas.microsoft.com/office/drawing/2014/main" id="{2BE61A74-F657-A74B-9E0C-C38627C06DC1}"/>
                </a:ext>
              </a:extLst>
            </p:cNvPr>
            <p:cNvSpPr/>
            <p:nvPr/>
          </p:nvSpPr>
          <p:spPr>
            <a:xfrm>
              <a:off x="7279652" y="1609115"/>
              <a:ext cx="1432807" cy="735122"/>
            </a:xfrm>
            <a:prstGeom prst="roundRect">
              <a:avLst>
                <a:gd name="adj" fmla="val 15212"/>
              </a:avLst>
            </a:prstGeom>
            <a:solidFill>
              <a:srgbClr val="0097B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ar-MA" sz="28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الدرس 1</a:t>
              </a:r>
              <a:endParaRPr kumimoji="0" lang="fr-MA" sz="28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sp>
        <p:nvSpPr>
          <p:cNvPr id="69" name="ZoneTexte 68">
            <a:extLst>
              <a:ext uri="{FF2B5EF4-FFF2-40B4-BE49-F238E27FC236}">
                <a16:creationId xmlns:a16="http://schemas.microsoft.com/office/drawing/2014/main" id="{FEE33B3F-8E33-4729-2EFB-5D1D31930B24}"/>
              </a:ext>
            </a:extLst>
          </p:cNvPr>
          <p:cNvSpPr txBox="1"/>
          <p:nvPr/>
        </p:nvSpPr>
        <p:spPr>
          <a:xfrm rot="16200000">
            <a:off x="7699312" y="4395991"/>
            <a:ext cx="1297578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18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الاستراتيجيات</a:t>
            </a:r>
          </a:p>
        </p:txBody>
      </p:sp>
      <p:sp>
        <p:nvSpPr>
          <p:cNvPr id="3" name="TextBox 9">
            <a:extLst>
              <a:ext uri="{FF2B5EF4-FFF2-40B4-BE49-F238E27FC236}">
                <a16:creationId xmlns:a16="http://schemas.microsoft.com/office/drawing/2014/main" id="{005BB650-C35C-07B8-6BB6-71E49C4EA744}"/>
              </a:ext>
            </a:extLst>
          </p:cNvPr>
          <p:cNvSpPr txBox="1"/>
          <p:nvPr/>
        </p:nvSpPr>
        <p:spPr>
          <a:xfrm>
            <a:off x="2025402" y="451955"/>
            <a:ext cx="4809259" cy="317395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ts val="207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3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تنظيم حصص الأسبوع التربوي الأول</a:t>
            </a:r>
          </a:p>
        </p:txBody>
      </p:sp>
      <p:grpSp>
        <p:nvGrpSpPr>
          <p:cNvPr id="13" name="Groupe 12">
            <a:extLst>
              <a:ext uri="{FF2B5EF4-FFF2-40B4-BE49-F238E27FC236}">
                <a16:creationId xmlns:a16="http://schemas.microsoft.com/office/drawing/2014/main" id="{290AD0A4-56E0-7356-FBC2-AD3FE8679EBF}"/>
              </a:ext>
            </a:extLst>
          </p:cNvPr>
          <p:cNvGrpSpPr/>
          <p:nvPr/>
        </p:nvGrpSpPr>
        <p:grpSpPr>
          <a:xfrm>
            <a:off x="431541" y="2505774"/>
            <a:ext cx="8280918" cy="864000"/>
            <a:chOff x="431541" y="2505774"/>
            <a:chExt cx="8280918" cy="864000"/>
          </a:xfrm>
        </p:grpSpPr>
        <p:sp>
          <p:nvSpPr>
            <p:cNvPr id="26" name="Rectangle : coins arrondis 25">
              <a:extLst>
                <a:ext uri="{FF2B5EF4-FFF2-40B4-BE49-F238E27FC236}">
                  <a16:creationId xmlns:a16="http://schemas.microsoft.com/office/drawing/2014/main" id="{C4791D1A-237F-DFDF-87F2-967A8A1A944B}"/>
                </a:ext>
              </a:extLst>
            </p:cNvPr>
            <p:cNvSpPr/>
            <p:nvPr/>
          </p:nvSpPr>
          <p:spPr>
            <a:xfrm>
              <a:off x="431541" y="2505774"/>
              <a:ext cx="6729086" cy="864000"/>
            </a:xfrm>
            <a:prstGeom prst="roundRect">
              <a:avLst>
                <a:gd name="adj" fmla="val 15858"/>
              </a:avLst>
            </a:prstGeom>
            <a:solidFill>
              <a:schemeClr val="bg1"/>
            </a:solidFill>
            <a:ln>
              <a:solidFill>
                <a:srgbClr val="70B1B6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ar-MA" sz="2800" b="1" i="0" u="none" strike="noStrike" kern="0" cap="none" spc="0" normalizeH="0" baseline="0" noProof="0" dirty="0">
                  <a:ln>
                    <a:noFill/>
                  </a:ln>
                  <a:solidFill>
                    <a:srgbClr val="106585"/>
                  </a:solidFill>
                  <a:effectLst/>
                  <a:uLnTx/>
                  <a:uFillTx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قراءة وكتابة الأعداد من 1 إلى 5</a:t>
              </a:r>
            </a:p>
          </p:txBody>
        </p:sp>
        <p:sp>
          <p:nvSpPr>
            <p:cNvPr id="27" name="Rectangle : coins arrondis 26">
              <a:extLst>
                <a:ext uri="{FF2B5EF4-FFF2-40B4-BE49-F238E27FC236}">
                  <a16:creationId xmlns:a16="http://schemas.microsoft.com/office/drawing/2014/main" id="{7514BC20-DCAA-097A-963C-3C62B1138CEB}"/>
                </a:ext>
              </a:extLst>
            </p:cNvPr>
            <p:cNvSpPr/>
            <p:nvPr/>
          </p:nvSpPr>
          <p:spPr>
            <a:xfrm>
              <a:off x="7279652" y="2505774"/>
              <a:ext cx="1432807" cy="864000"/>
            </a:xfrm>
            <a:prstGeom prst="roundRect">
              <a:avLst>
                <a:gd name="adj" fmla="val 15212"/>
              </a:avLst>
            </a:prstGeom>
            <a:solidFill>
              <a:srgbClr val="0097B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ar-MA" sz="28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الدرس 2</a:t>
              </a:r>
              <a:endParaRPr kumimoji="0" lang="fr-MA" sz="28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grpSp>
        <p:nvGrpSpPr>
          <p:cNvPr id="12" name="Groupe 11">
            <a:extLst>
              <a:ext uri="{FF2B5EF4-FFF2-40B4-BE49-F238E27FC236}">
                <a16:creationId xmlns:a16="http://schemas.microsoft.com/office/drawing/2014/main" id="{4FA67F3C-BBB9-9D52-BDE4-E8F5EEFEBCE2}"/>
              </a:ext>
            </a:extLst>
          </p:cNvPr>
          <p:cNvGrpSpPr/>
          <p:nvPr/>
        </p:nvGrpSpPr>
        <p:grpSpPr>
          <a:xfrm>
            <a:off x="431541" y="3512333"/>
            <a:ext cx="8257473" cy="759828"/>
            <a:chOff x="431541" y="3512333"/>
            <a:chExt cx="8257473" cy="759828"/>
          </a:xfrm>
        </p:grpSpPr>
        <p:sp>
          <p:nvSpPr>
            <p:cNvPr id="29" name="Rectangle : coins arrondis 28">
              <a:extLst>
                <a:ext uri="{FF2B5EF4-FFF2-40B4-BE49-F238E27FC236}">
                  <a16:creationId xmlns:a16="http://schemas.microsoft.com/office/drawing/2014/main" id="{C9664CAF-E9EA-FF81-C096-F576958011E5}"/>
                </a:ext>
              </a:extLst>
            </p:cNvPr>
            <p:cNvSpPr/>
            <p:nvPr/>
          </p:nvSpPr>
          <p:spPr>
            <a:xfrm>
              <a:off x="431541" y="3512333"/>
              <a:ext cx="6729086" cy="759828"/>
            </a:xfrm>
            <a:prstGeom prst="roundRect">
              <a:avLst>
                <a:gd name="adj" fmla="val 15858"/>
              </a:avLst>
            </a:prstGeom>
            <a:solidFill>
              <a:schemeClr val="bg1"/>
            </a:solidFill>
            <a:ln>
              <a:solidFill>
                <a:srgbClr val="70B1B6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ar-MA" sz="2800" b="1" i="0" u="none" strike="noStrike" kern="0" cap="none" spc="0" normalizeH="0" baseline="0" noProof="0" dirty="0">
                  <a:ln>
                    <a:noFill/>
                  </a:ln>
                  <a:solidFill>
                    <a:srgbClr val="106585"/>
                  </a:solidFill>
                  <a:effectLst/>
                  <a:uLnTx/>
                  <a:uFillTx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تفكيك العددين 2 و3</a:t>
              </a:r>
            </a:p>
          </p:txBody>
        </p:sp>
        <p:sp>
          <p:nvSpPr>
            <p:cNvPr id="30" name="Rectangle : coins arrondis 29">
              <a:extLst>
                <a:ext uri="{FF2B5EF4-FFF2-40B4-BE49-F238E27FC236}">
                  <a16:creationId xmlns:a16="http://schemas.microsoft.com/office/drawing/2014/main" id="{9B55B03F-0996-CDCC-E5DF-A6437BA3223D}"/>
                </a:ext>
              </a:extLst>
            </p:cNvPr>
            <p:cNvSpPr/>
            <p:nvPr/>
          </p:nvSpPr>
          <p:spPr>
            <a:xfrm>
              <a:off x="7279652" y="3512333"/>
              <a:ext cx="1409362" cy="740706"/>
            </a:xfrm>
            <a:prstGeom prst="roundRect">
              <a:avLst>
                <a:gd name="adj" fmla="val 15212"/>
              </a:avLst>
            </a:prstGeom>
            <a:solidFill>
              <a:srgbClr val="0097B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ar-MA" sz="28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الدرس 3</a:t>
              </a:r>
              <a:endParaRPr kumimoji="0" lang="fr-MA" sz="28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grpSp>
        <p:nvGrpSpPr>
          <p:cNvPr id="11" name="Groupe 10">
            <a:extLst>
              <a:ext uri="{FF2B5EF4-FFF2-40B4-BE49-F238E27FC236}">
                <a16:creationId xmlns:a16="http://schemas.microsoft.com/office/drawing/2014/main" id="{327A861E-B72C-A2FC-59D4-349FA281790B}"/>
              </a:ext>
            </a:extLst>
          </p:cNvPr>
          <p:cNvGrpSpPr/>
          <p:nvPr/>
        </p:nvGrpSpPr>
        <p:grpSpPr>
          <a:xfrm>
            <a:off x="431539" y="4414720"/>
            <a:ext cx="8280919" cy="779876"/>
            <a:chOff x="431539" y="4414720"/>
            <a:chExt cx="8280919" cy="779876"/>
          </a:xfrm>
        </p:grpSpPr>
        <p:sp>
          <p:nvSpPr>
            <p:cNvPr id="32" name="Rectangle : coins arrondis 31">
              <a:extLst>
                <a:ext uri="{FF2B5EF4-FFF2-40B4-BE49-F238E27FC236}">
                  <a16:creationId xmlns:a16="http://schemas.microsoft.com/office/drawing/2014/main" id="{A9DABFE0-70C8-684C-B5AF-C1D7B97901FC}"/>
                </a:ext>
              </a:extLst>
            </p:cNvPr>
            <p:cNvSpPr/>
            <p:nvPr/>
          </p:nvSpPr>
          <p:spPr>
            <a:xfrm>
              <a:off x="431539" y="4414720"/>
              <a:ext cx="6729087" cy="764236"/>
            </a:xfrm>
            <a:prstGeom prst="roundRect">
              <a:avLst>
                <a:gd name="adj" fmla="val 15858"/>
              </a:avLst>
            </a:prstGeom>
            <a:solidFill>
              <a:schemeClr val="bg1"/>
            </a:solidFill>
            <a:ln>
              <a:solidFill>
                <a:srgbClr val="70B1B6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ar-MA" sz="2800" b="1" i="0" u="none" strike="noStrike" kern="0" cap="none" spc="0" normalizeH="0" baseline="0" noProof="0" dirty="0">
                  <a:ln>
                    <a:noFill/>
                  </a:ln>
                  <a:solidFill>
                    <a:srgbClr val="106585"/>
                  </a:solidFill>
                  <a:effectLst/>
                  <a:uLnTx/>
                  <a:uFillTx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تفكيك العددين 4 و5</a:t>
              </a:r>
            </a:p>
          </p:txBody>
        </p:sp>
        <p:sp>
          <p:nvSpPr>
            <p:cNvPr id="33" name="Rectangle : coins arrondis 32">
              <a:extLst>
                <a:ext uri="{FF2B5EF4-FFF2-40B4-BE49-F238E27FC236}">
                  <a16:creationId xmlns:a16="http://schemas.microsoft.com/office/drawing/2014/main" id="{78F93B5D-E5A1-C1F3-EA0E-CE08E76CD02C}"/>
                </a:ext>
              </a:extLst>
            </p:cNvPr>
            <p:cNvSpPr/>
            <p:nvPr/>
          </p:nvSpPr>
          <p:spPr>
            <a:xfrm>
              <a:off x="7279651" y="4414720"/>
              <a:ext cx="1432807" cy="779876"/>
            </a:xfrm>
            <a:prstGeom prst="roundRect">
              <a:avLst>
                <a:gd name="adj" fmla="val 15212"/>
              </a:avLst>
            </a:prstGeom>
            <a:solidFill>
              <a:srgbClr val="0097B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ar-MA" sz="28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الدرس 4</a:t>
              </a:r>
              <a:endParaRPr kumimoji="0" lang="fr-MA" sz="28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sp>
        <p:nvSpPr>
          <p:cNvPr id="36" name="Rectangle : coins arrondis 35">
            <a:extLst>
              <a:ext uri="{FF2B5EF4-FFF2-40B4-BE49-F238E27FC236}">
                <a16:creationId xmlns:a16="http://schemas.microsoft.com/office/drawing/2014/main" id="{83B9A300-CA53-64F3-F908-C262E606C7CC}"/>
              </a:ext>
            </a:extLst>
          </p:cNvPr>
          <p:cNvSpPr/>
          <p:nvPr/>
        </p:nvSpPr>
        <p:spPr>
          <a:xfrm>
            <a:off x="431540" y="5337155"/>
            <a:ext cx="8280918" cy="779876"/>
          </a:xfrm>
          <a:prstGeom prst="roundRect">
            <a:avLst>
              <a:gd name="adj" fmla="val 15212"/>
            </a:avLst>
          </a:prstGeom>
          <a:solidFill>
            <a:srgbClr val="0097B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ar-MA" sz="2800" b="1" kern="0" dirty="0">
                <a:solidFill>
                  <a:prstClr val="white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مراجعة دروس الأسبوع الأول </a:t>
            </a:r>
            <a:endParaRPr lang="fr-MA" sz="2800" b="1" kern="0" dirty="0">
              <a:solidFill>
                <a:prstClr val="white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17191076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E194F80-E418-E8F6-F07A-AFC3B78D686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 2">
            <a:extLst>
              <a:ext uri="{FF2B5EF4-FFF2-40B4-BE49-F238E27FC236}">
                <a16:creationId xmlns:a16="http://schemas.microsoft.com/office/drawing/2014/main" id="{9FEFCFD9-C632-7316-2E62-B841538BB021}"/>
              </a:ext>
            </a:extLst>
          </p:cNvPr>
          <p:cNvPicPr/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pic>
        <p:nvPicPr>
          <p:cNvPr id="7" name="Image 6">
            <a:extLst>
              <a:ext uri="{FF2B5EF4-FFF2-40B4-BE49-F238E27FC236}">
                <a16:creationId xmlns:a16="http://schemas.microsoft.com/office/drawing/2014/main" id="{CD4EFADF-0EA5-695D-B15F-E3B6CEE35AAC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279195" y="562563"/>
            <a:ext cx="983213" cy="1085493"/>
          </a:xfrm>
          <a:prstGeom prst="rect">
            <a:avLst/>
          </a:prstGeom>
        </p:spPr>
      </p:pic>
      <p:sp>
        <p:nvSpPr>
          <p:cNvPr id="14" name="ZoneTexte 7">
            <a:extLst>
              <a:ext uri="{FF2B5EF4-FFF2-40B4-BE49-F238E27FC236}">
                <a16:creationId xmlns:a16="http://schemas.microsoft.com/office/drawing/2014/main" id="{06BEC777-3B91-F16B-8BC4-B90F83652980}"/>
              </a:ext>
            </a:extLst>
          </p:cNvPr>
          <p:cNvSpPr txBox="1"/>
          <p:nvPr/>
        </p:nvSpPr>
        <p:spPr>
          <a:xfrm>
            <a:off x="890583" y="511038"/>
            <a:ext cx="763284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rtl="1"/>
            <a:r>
              <a:rPr lang="ar-MA" sz="1800" b="1" dirty="0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انتبهوا. سأقوم بالجزء الأول من النشاط 7.</a:t>
            </a:r>
          </a:p>
          <a:p>
            <a:pPr algn="r" rtl="1"/>
            <a:r>
              <a:rPr lang="ar-MA" b="1" dirty="0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سأقوم بتفكيك العدد 2.</a:t>
            </a:r>
            <a:r>
              <a:rPr lang="ar-MA" sz="1800" b="1" dirty="0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</a:p>
        </p:txBody>
      </p:sp>
      <p:pic>
        <p:nvPicPr>
          <p:cNvPr id="5" name="Image 4">
            <a:extLst>
              <a:ext uri="{FF2B5EF4-FFF2-40B4-BE49-F238E27FC236}">
                <a16:creationId xmlns:a16="http://schemas.microsoft.com/office/drawing/2014/main" id="{E4B6C46E-1898-1C0A-7DAB-B07D10F718C0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88374" y="2210631"/>
            <a:ext cx="8367252" cy="2665079"/>
          </a:xfrm>
          <a:prstGeom prst="rect">
            <a:avLst/>
          </a:prstGeom>
        </p:spPr>
      </p:pic>
      <p:sp>
        <p:nvSpPr>
          <p:cNvPr id="6" name="Rectangle : coins arrondis 5">
            <a:extLst>
              <a:ext uri="{FF2B5EF4-FFF2-40B4-BE49-F238E27FC236}">
                <a16:creationId xmlns:a16="http://schemas.microsoft.com/office/drawing/2014/main" id="{61DF8761-F903-9EA1-D639-AA0C3E34DB63}"/>
              </a:ext>
            </a:extLst>
          </p:cNvPr>
          <p:cNvSpPr/>
          <p:nvPr/>
        </p:nvSpPr>
        <p:spPr>
          <a:xfrm>
            <a:off x="360009" y="2180763"/>
            <a:ext cx="1842416" cy="2804192"/>
          </a:xfrm>
          <a:prstGeom prst="round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8" name="Flèche : bas 7">
            <a:extLst>
              <a:ext uri="{FF2B5EF4-FFF2-40B4-BE49-F238E27FC236}">
                <a16:creationId xmlns:a16="http://schemas.microsoft.com/office/drawing/2014/main" id="{46F74095-DE7D-9CD4-BAD7-417CAC630D3A}"/>
              </a:ext>
            </a:extLst>
          </p:cNvPr>
          <p:cNvSpPr/>
          <p:nvPr/>
        </p:nvSpPr>
        <p:spPr>
          <a:xfrm>
            <a:off x="1137913" y="1813836"/>
            <a:ext cx="286607" cy="334677"/>
          </a:xfrm>
          <a:prstGeom prst="downArrow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482475371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A5336D7-07F5-4365-F204-6C10A12D15E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 2">
            <a:extLst>
              <a:ext uri="{FF2B5EF4-FFF2-40B4-BE49-F238E27FC236}">
                <a16:creationId xmlns:a16="http://schemas.microsoft.com/office/drawing/2014/main" id="{0710AA95-AF7B-B002-24F0-69FC4D0BC074}"/>
              </a:ext>
            </a:extLst>
          </p:cNvPr>
          <p:cNvPicPr/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pic>
        <p:nvPicPr>
          <p:cNvPr id="7" name="Image 6">
            <a:extLst>
              <a:ext uri="{FF2B5EF4-FFF2-40B4-BE49-F238E27FC236}">
                <a16:creationId xmlns:a16="http://schemas.microsoft.com/office/drawing/2014/main" id="{BDC788D0-BA23-6724-46CC-3920A76CE240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279195" y="562563"/>
            <a:ext cx="983213" cy="1085493"/>
          </a:xfrm>
          <a:prstGeom prst="rect">
            <a:avLst/>
          </a:prstGeom>
        </p:spPr>
      </p:pic>
      <p:sp>
        <p:nvSpPr>
          <p:cNvPr id="14" name="ZoneTexte 7">
            <a:extLst>
              <a:ext uri="{FF2B5EF4-FFF2-40B4-BE49-F238E27FC236}">
                <a16:creationId xmlns:a16="http://schemas.microsoft.com/office/drawing/2014/main" id="{1C239B3B-368D-CAF7-48A2-B08410B8B70A}"/>
              </a:ext>
            </a:extLst>
          </p:cNvPr>
          <p:cNvSpPr txBox="1"/>
          <p:nvPr/>
        </p:nvSpPr>
        <p:spPr>
          <a:xfrm>
            <a:off x="6715432" y="481541"/>
            <a:ext cx="175883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rtl="1"/>
            <a:r>
              <a:rPr lang="ar-MA" sz="1800" b="1" dirty="0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العدد 2 هو 1 و1.</a:t>
            </a:r>
          </a:p>
        </p:txBody>
      </p:sp>
      <p:pic>
        <p:nvPicPr>
          <p:cNvPr id="2" name="Image 1">
            <a:extLst>
              <a:ext uri="{FF2B5EF4-FFF2-40B4-BE49-F238E27FC236}">
                <a16:creationId xmlns:a16="http://schemas.microsoft.com/office/drawing/2014/main" id="{0F5A0098-48F9-4F6C-BC31-A2A838DAD1A0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88374" y="2210631"/>
            <a:ext cx="8367252" cy="2665079"/>
          </a:xfrm>
          <a:prstGeom prst="rect">
            <a:avLst/>
          </a:prstGeom>
        </p:spPr>
      </p:pic>
      <p:sp>
        <p:nvSpPr>
          <p:cNvPr id="6" name="Rectangle : coins arrondis 5">
            <a:extLst>
              <a:ext uri="{FF2B5EF4-FFF2-40B4-BE49-F238E27FC236}">
                <a16:creationId xmlns:a16="http://schemas.microsoft.com/office/drawing/2014/main" id="{5AC3EED0-4972-1E08-91A8-74F6359ED43B}"/>
              </a:ext>
            </a:extLst>
          </p:cNvPr>
          <p:cNvSpPr/>
          <p:nvPr/>
        </p:nvSpPr>
        <p:spPr>
          <a:xfrm>
            <a:off x="360009" y="2180763"/>
            <a:ext cx="1842416" cy="2804192"/>
          </a:xfrm>
          <a:prstGeom prst="round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8" name="ZoneTexte 7">
            <a:extLst>
              <a:ext uri="{FF2B5EF4-FFF2-40B4-BE49-F238E27FC236}">
                <a16:creationId xmlns:a16="http://schemas.microsoft.com/office/drawing/2014/main" id="{6EDAEFC2-5157-DD76-E02F-F7B90E8C78B1}"/>
              </a:ext>
            </a:extLst>
          </p:cNvPr>
          <p:cNvSpPr txBox="1"/>
          <p:nvPr/>
        </p:nvSpPr>
        <p:spPr>
          <a:xfrm>
            <a:off x="5683046" y="801713"/>
            <a:ext cx="279122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rtl="1"/>
            <a:r>
              <a:rPr lang="ar-MA" b="1" dirty="0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أكتب واحد في الدائرة الحمراء.</a:t>
            </a:r>
            <a:endParaRPr lang="ar-MA" sz="1800" b="1" dirty="0">
              <a:solidFill>
                <a:schemeClr val="bg1">
                  <a:lumMod val="65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9" name="ZoneTexte 8">
            <a:extLst>
              <a:ext uri="{FF2B5EF4-FFF2-40B4-BE49-F238E27FC236}">
                <a16:creationId xmlns:a16="http://schemas.microsoft.com/office/drawing/2014/main" id="{A1114CF3-484A-FBEF-60B9-B6C03F9C44DC}"/>
              </a:ext>
            </a:extLst>
          </p:cNvPr>
          <p:cNvSpPr txBox="1"/>
          <p:nvPr/>
        </p:nvSpPr>
        <p:spPr>
          <a:xfrm>
            <a:off x="3254477" y="821377"/>
            <a:ext cx="279122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rtl="1"/>
            <a:r>
              <a:rPr lang="ar-MA" b="1" dirty="0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وأكتب واحد في الدائرة الزرقاء.</a:t>
            </a:r>
            <a:endParaRPr lang="ar-MA" sz="1800" b="1" dirty="0">
              <a:solidFill>
                <a:schemeClr val="bg1">
                  <a:lumMod val="65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0" name="ZoneTexte 9">
            <a:extLst>
              <a:ext uri="{FF2B5EF4-FFF2-40B4-BE49-F238E27FC236}">
                <a16:creationId xmlns:a16="http://schemas.microsoft.com/office/drawing/2014/main" id="{BA380C25-AFD3-D1EF-3A10-4B0A2CF2A8A4}"/>
              </a:ext>
            </a:extLst>
          </p:cNvPr>
          <p:cNvSpPr txBox="1"/>
          <p:nvPr/>
        </p:nvSpPr>
        <p:spPr>
          <a:xfrm>
            <a:off x="741305" y="3828819"/>
            <a:ext cx="412292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ar-MA" sz="3200" dirty="0">
                <a:solidFill>
                  <a:srgbClr val="0070C0"/>
                </a:solidFill>
              </a:rPr>
              <a:t>1</a:t>
            </a:r>
            <a:endParaRPr lang="fr-FR" sz="3200" dirty="0">
              <a:solidFill>
                <a:srgbClr val="0070C0"/>
              </a:solidFill>
            </a:endParaRPr>
          </a:p>
        </p:txBody>
      </p:sp>
      <p:sp>
        <p:nvSpPr>
          <p:cNvPr id="11" name="ZoneTexte 10">
            <a:extLst>
              <a:ext uri="{FF2B5EF4-FFF2-40B4-BE49-F238E27FC236}">
                <a16:creationId xmlns:a16="http://schemas.microsoft.com/office/drawing/2014/main" id="{A62C213F-6B87-FF3C-6CA6-245D22E6D150}"/>
              </a:ext>
            </a:extLst>
          </p:cNvPr>
          <p:cNvSpPr txBox="1"/>
          <p:nvPr/>
        </p:nvSpPr>
        <p:spPr>
          <a:xfrm>
            <a:off x="1487133" y="3828819"/>
            <a:ext cx="412292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ar-MA" sz="3200" dirty="0">
                <a:solidFill>
                  <a:srgbClr val="0070C0"/>
                </a:solidFill>
              </a:rPr>
              <a:t>1</a:t>
            </a:r>
            <a:endParaRPr lang="fr-FR" sz="3200" dirty="0">
              <a:solidFill>
                <a:srgbClr val="0070C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246298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1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22" presetClass="entr" presetSubtype="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6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500"/>
                            </p:stCondLst>
                            <p:childTnLst>
                              <p:par>
                                <p:cTn id="18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0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  <p:bldP spid="9" grpId="0"/>
      <p:bldP spid="10" grpId="0"/>
      <p:bldP spid="11" grpId="0"/>
    </p:bld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D3163BD-9B7C-90F7-05CB-B45BD32EFC1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 2">
            <a:extLst>
              <a:ext uri="{FF2B5EF4-FFF2-40B4-BE49-F238E27FC236}">
                <a16:creationId xmlns:a16="http://schemas.microsoft.com/office/drawing/2014/main" id="{C01B95FD-832E-F593-266E-8E80A932675E}"/>
              </a:ext>
            </a:extLst>
          </p:cNvPr>
          <p:cNvPicPr/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6" name="Google Shape;462;p24">
            <a:extLst>
              <a:ext uri="{FF2B5EF4-FFF2-40B4-BE49-F238E27FC236}">
                <a16:creationId xmlns:a16="http://schemas.microsoft.com/office/drawing/2014/main" id="{1EE0679F-ED60-9A54-900E-FC5910FC35C8}"/>
              </a:ext>
            </a:extLst>
          </p:cNvPr>
          <p:cNvSpPr txBox="1"/>
          <p:nvPr/>
        </p:nvSpPr>
        <p:spPr>
          <a:xfrm>
            <a:off x="1135083" y="526745"/>
            <a:ext cx="7315199" cy="61552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0950" tIns="30467" rIns="60950" bIns="30467" anchor="t" anchorCtr="0">
            <a:spAutoFit/>
          </a:bodyPr>
          <a:lstStyle/>
          <a:p>
            <a:pPr algn="r" rtl="1"/>
            <a:r>
              <a:rPr lang="ar-MA" b="1" dirty="0">
                <a:solidFill>
                  <a:srgbClr val="A5A5A5"/>
                </a:solidFill>
                <a:latin typeface="Calibri"/>
                <a:ea typeface="Calibri"/>
                <a:cs typeface="Calibri"/>
                <a:sym typeface="Calibri"/>
              </a:rPr>
              <a:t>الآن سنشتغل على كراسة الرياضيات. الصفحة 17. النشاط 7.</a:t>
            </a:r>
          </a:p>
          <a:p>
            <a:pPr algn="r" rtl="1"/>
            <a:r>
              <a:rPr lang="ar-MA" b="1" dirty="0">
                <a:solidFill>
                  <a:srgbClr val="A5A5A5"/>
                </a:solidFill>
                <a:latin typeface="Calibri"/>
                <a:ea typeface="Calibri"/>
                <a:cs typeface="Calibri"/>
                <a:sym typeface="Calibri"/>
              </a:rPr>
              <a:t>لقد ساعدتكم بكتابة الجزء الأول من التفكيك في الدائرة الحمراء.</a:t>
            </a:r>
          </a:p>
        </p:txBody>
      </p:sp>
      <p:pic>
        <p:nvPicPr>
          <p:cNvPr id="8" name="Image 7">
            <a:extLst>
              <a:ext uri="{FF2B5EF4-FFF2-40B4-BE49-F238E27FC236}">
                <a16:creationId xmlns:a16="http://schemas.microsoft.com/office/drawing/2014/main" id="{FAEE3703-0067-47E4-9DD5-84578D83140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10000" b="90000" l="10000" r="9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395536" y="552317"/>
            <a:ext cx="895747" cy="822553"/>
          </a:xfrm>
          <a:prstGeom prst="rect">
            <a:avLst/>
          </a:prstGeom>
          <a:ln>
            <a:noFill/>
          </a:ln>
          <a:effectLst/>
        </p:spPr>
      </p:pic>
      <p:pic>
        <p:nvPicPr>
          <p:cNvPr id="2" name="Image 1">
            <a:extLst>
              <a:ext uri="{FF2B5EF4-FFF2-40B4-BE49-F238E27FC236}">
                <a16:creationId xmlns:a16="http://schemas.microsoft.com/office/drawing/2014/main" id="{45C7EF7D-3168-7DE8-5619-9AB895293690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88375" y="2210631"/>
            <a:ext cx="8367250" cy="2665079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2118DA01-267A-743F-66B1-F10CFCF051D5}"/>
              </a:ext>
            </a:extLst>
          </p:cNvPr>
          <p:cNvSpPr/>
          <p:nvPr/>
        </p:nvSpPr>
        <p:spPr>
          <a:xfrm>
            <a:off x="346850" y="2074606"/>
            <a:ext cx="8410972" cy="2920182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9" name="ZoneTexte 8">
            <a:extLst>
              <a:ext uri="{FF2B5EF4-FFF2-40B4-BE49-F238E27FC236}">
                <a16:creationId xmlns:a16="http://schemas.microsoft.com/office/drawing/2014/main" id="{E3C9F38F-00E9-7797-1372-BAED89D0F08F}"/>
              </a:ext>
            </a:extLst>
          </p:cNvPr>
          <p:cNvSpPr txBox="1"/>
          <p:nvPr/>
        </p:nvSpPr>
        <p:spPr>
          <a:xfrm>
            <a:off x="2440862" y="3856946"/>
            <a:ext cx="412292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ar-MA" sz="3200" dirty="0"/>
              <a:t>2</a:t>
            </a:r>
            <a:endParaRPr lang="fr-FR" sz="3200" dirty="0"/>
          </a:p>
        </p:txBody>
      </p:sp>
      <p:sp>
        <p:nvSpPr>
          <p:cNvPr id="10" name="ZoneTexte 9">
            <a:extLst>
              <a:ext uri="{FF2B5EF4-FFF2-40B4-BE49-F238E27FC236}">
                <a16:creationId xmlns:a16="http://schemas.microsoft.com/office/drawing/2014/main" id="{94AAD3D8-E2BB-AA8C-500A-FA92BAD9AE4A}"/>
              </a:ext>
            </a:extLst>
          </p:cNvPr>
          <p:cNvSpPr txBox="1"/>
          <p:nvPr/>
        </p:nvSpPr>
        <p:spPr>
          <a:xfrm>
            <a:off x="3979611" y="3856945"/>
            <a:ext cx="412292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ar-MA" sz="3200" dirty="0"/>
              <a:t>3</a:t>
            </a:r>
            <a:endParaRPr lang="fr-FR" sz="3200" dirty="0"/>
          </a:p>
        </p:txBody>
      </p:sp>
      <p:sp>
        <p:nvSpPr>
          <p:cNvPr id="11" name="ZoneTexte 10">
            <a:extLst>
              <a:ext uri="{FF2B5EF4-FFF2-40B4-BE49-F238E27FC236}">
                <a16:creationId xmlns:a16="http://schemas.microsoft.com/office/drawing/2014/main" id="{72A4ECAB-EBA6-F157-052A-7977F247D90D}"/>
              </a:ext>
            </a:extLst>
          </p:cNvPr>
          <p:cNvSpPr txBox="1"/>
          <p:nvPr/>
        </p:nvSpPr>
        <p:spPr>
          <a:xfrm>
            <a:off x="5528192" y="3856944"/>
            <a:ext cx="412292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ar-MA" sz="3200" dirty="0"/>
              <a:t>2</a:t>
            </a:r>
            <a:endParaRPr lang="fr-FR" sz="3200" dirty="0"/>
          </a:p>
        </p:txBody>
      </p:sp>
      <p:sp>
        <p:nvSpPr>
          <p:cNvPr id="12" name="ZoneTexte 11">
            <a:extLst>
              <a:ext uri="{FF2B5EF4-FFF2-40B4-BE49-F238E27FC236}">
                <a16:creationId xmlns:a16="http://schemas.microsoft.com/office/drawing/2014/main" id="{B362D1EC-CFA3-2DCD-0EBE-5418F85F7AA7}"/>
              </a:ext>
            </a:extLst>
          </p:cNvPr>
          <p:cNvSpPr txBox="1"/>
          <p:nvPr/>
        </p:nvSpPr>
        <p:spPr>
          <a:xfrm>
            <a:off x="7125933" y="3856944"/>
            <a:ext cx="412292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ar-MA" sz="3200" dirty="0"/>
              <a:t>3</a:t>
            </a:r>
            <a:endParaRPr lang="fr-FR" sz="3200" dirty="0"/>
          </a:p>
        </p:txBody>
      </p:sp>
    </p:spTree>
    <p:extLst>
      <p:ext uri="{BB962C8B-B14F-4D97-AF65-F5344CB8AC3E}">
        <p14:creationId xmlns:p14="http://schemas.microsoft.com/office/powerpoint/2010/main" val="722213215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02E85C8-1944-C9A7-8121-7D730683DB3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 2">
            <a:extLst>
              <a:ext uri="{FF2B5EF4-FFF2-40B4-BE49-F238E27FC236}">
                <a16:creationId xmlns:a16="http://schemas.microsoft.com/office/drawing/2014/main" id="{61E738FE-ED40-E11E-29FC-7503AD6B2A08}"/>
              </a:ext>
            </a:extLst>
          </p:cNvPr>
          <p:cNvPicPr/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6" name="Google Shape;462;p24">
            <a:extLst>
              <a:ext uri="{FF2B5EF4-FFF2-40B4-BE49-F238E27FC236}">
                <a16:creationId xmlns:a16="http://schemas.microsoft.com/office/drawing/2014/main" id="{4093D1A1-7BFE-079A-84D3-5D9BEE842943}"/>
              </a:ext>
            </a:extLst>
          </p:cNvPr>
          <p:cNvSpPr txBox="1"/>
          <p:nvPr/>
        </p:nvSpPr>
        <p:spPr>
          <a:xfrm>
            <a:off x="1144915" y="529511"/>
            <a:ext cx="7315199" cy="61552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0950" tIns="30467" rIns="60950" bIns="30467" anchor="t" anchorCtr="0">
            <a:spAutoFit/>
          </a:bodyPr>
          <a:lstStyle/>
          <a:p>
            <a:pPr algn="r" rtl="1"/>
            <a:r>
              <a:rPr lang="ar-MA" b="1" dirty="0">
                <a:solidFill>
                  <a:srgbClr val="A5A5A5"/>
                </a:solidFill>
                <a:latin typeface="Calibri"/>
                <a:ea typeface="Calibri"/>
                <a:cs typeface="Calibri"/>
                <a:sym typeface="Calibri"/>
              </a:rPr>
              <a:t>أكملوا تفكيك الأعداد 3 و4 و5. سأمر بين الصفوف لتقديم المساعدة.</a:t>
            </a:r>
          </a:p>
          <a:p>
            <a:pPr algn="r" rtl="1"/>
            <a:r>
              <a:rPr lang="ar-MA" i="1" dirty="0">
                <a:solidFill>
                  <a:srgbClr val="A5A5A5"/>
                </a:solidFill>
                <a:latin typeface="Calibri"/>
                <a:ea typeface="Calibri"/>
                <a:cs typeface="Calibri"/>
                <a:sym typeface="Calibri"/>
              </a:rPr>
              <a:t>يمكن أن يستعين المتعلمون بالمكعبات لتفكيك الأعداد.</a:t>
            </a:r>
          </a:p>
        </p:txBody>
      </p:sp>
      <p:pic>
        <p:nvPicPr>
          <p:cNvPr id="8" name="Image 7">
            <a:extLst>
              <a:ext uri="{FF2B5EF4-FFF2-40B4-BE49-F238E27FC236}">
                <a16:creationId xmlns:a16="http://schemas.microsoft.com/office/drawing/2014/main" id="{26762112-69D1-158F-3FD7-7C8F6349FC9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10000" b="90000" l="10000" r="9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395536" y="552317"/>
            <a:ext cx="895747" cy="822553"/>
          </a:xfrm>
          <a:prstGeom prst="rect">
            <a:avLst/>
          </a:prstGeom>
          <a:ln>
            <a:noFill/>
          </a:ln>
          <a:effectLst/>
        </p:spPr>
      </p:pic>
      <p:pic>
        <p:nvPicPr>
          <p:cNvPr id="2" name="Image 1">
            <a:extLst>
              <a:ext uri="{FF2B5EF4-FFF2-40B4-BE49-F238E27FC236}">
                <a16:creationId xmlns:a16="http://schemas.microsoft.com/office/drawing/2014/main" id="{D4963B18-9673-A89B-27F3-E4F2C756CACE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88375" y="2210631"/>
            <a:ext cx="8367250" cy="2665079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D7EB9C9A-127B-9DBF-DBD0-C17BF2D7F8DC}"/>
              </a:ext>
            </a:extLst>
          </p:cNvPr>
          <p:cNvSpPr/>
          <p:nvPr/>
        </p:nvSpPr>
        <p:spPr>
          <a:xfrm>
            <a:off x="346850" y="2074606"/>
            <a:ext cx="8410972" cy="2920182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9" name="ZoneTexte 8">
            <a:extLst>
              <a:ext uri="{FF2B5EF4-FFF2-40B4-BE49-F238E27FC236}">
                <a16:creationId xmlns:a16="http://schemas.microsoft.com/office/drawing/2014/main" id="{6BAA2FAD-C7D5-3A72-D6D7-7B44BCC7140E}"/>
              </a:ext>
            </a:extLst>
          </p:cNvPr>
          <p:cNvSpPr txBox="1"/>
          <p:nvPr/>
        </p:nvSpPr>
        <p:spPr>
          <a:xfrm>
            <a:off x="2440862" y="3856946"/>
            <a:ext cx="412292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ar-MA" sz="3200" dirty="0"/>
              <a:t>2</a:t>
            </a:r>
            <a:endParaRPr lang="fr-FR" sz="3200" dirty="0"/>
          </a:p>
        </p:txBody>
      </p:sp>
      <p:sp>
        <p:nvSpPr>
          <p:cNvPr id="10" name="ZoneTexte 9">
            <a:extLst>
              <a:ext uri="{FF2B5EF4-FFF2-40B4-BE49-F238E27FC236}">
                <a16:creationId xmlns:a16="http://schemas.microsoft.com/office/drawing/2014/main" id="{7DC25887-6636-D61A-47B3-071C3FF20614}"/>
              </a:ext>
            </a:extLst>
          </p:cNvPr>
          <p:cNvSpPr txBox="1"/>
          <p:nvPr/>
        </p:nvSpPr>
        <p:spPr>
          <a:xfrm>
            <a:off x="3979611" y="3856945"/>
            <a:ext cx="412292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ar-MA" sz="3200" dirty="0"/>
              <a:t>3</a:t>
            </a:r>
            <a:endParaRPr lang="fr-FR" sz="3200" dirty="0"/>
          </a:p>
        </p:txBody>
      </p:sp>
      <p:sp>
        <p:nvSpPr>
          <p:cNvPr id="11" name="ZoneTexte 10">
            <a:extLst>
              <a:ext uri="{FF2B5EF4-FFF2-40B4-BE49-F238E27FC236}">
                <a16:creationId xmlns:a16="http://schemas.microsoft.com/office/drawing/2014/main" id="{C9567557-ADED-0B79-AB54-8F8E655CEA5C}"/>
              </a:ext>
            </a:extLst>
          </p:cNvPr>
          <p:cNvSpPr txBox="1"/>
          <p:nvPr/>
        </p:nvSpPr>
        <p:spPr>
          <a:xfrm>
            <a:off x="5528192" y="3856944"/>
            <a:ext cx="412292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ar-MA" sz="3200" dirty="0"/>
              <a:t>2</a:t>
            </a:r>
            <a:endParaRPr lang="fr-FR" sz="3200" dirty="0"/>
          </a:p>
        </p:txBody>
      </p:sp>
      <p:sp>
        <p:nvSpPr>
          <p:cNvPr id="12" name="ZoneTexte 11">
            <a:extLst>
              <a:ext uri="{FF2B5EF4-FFF2-40B4-BE49-F238E27FC236}">
                <a16:creationId xmlns:a16="http://schemas.microsoft.com/office/drawing/2014/main" id="{F918E133-0D2F-1FA1-31AF-81FCC8186759}"/>
              </a:ext>
            </a:extLst>
          </p:cNvPr>
          <p:cNvSpPr txBox="1"/>
          <p:nvPr/>
        </p:nvSpPr>
        <p:spPr>
          <a:xfrm>
            <a:off x="7125933" y="3856944"/>
            <a:ext cx="412292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ar-MA" sz="3200" dirty="0"/>
              <a:t>3</a:t>
            </a:r>
            <a:endParaRPr lang="fr-FR" sz="3200" dirty="0"/>
          </a:p>
        </p:txBody>
      </p:sp>
    </p:spTree>
    <p:extLst>
      <p:ext uri="{BB962C8B-B14F-4D97-AF65-F5344CB8AC3E}">
        <p14:creationId xmlns:p14="http://schemas.microsoft.com/office/powerpoint/2010/main" val="3141802230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C4074B7-6E87-75FF-9739-93915F296C9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3">
            <a:extLst>
              <a:ext uri="{FF2B5EF4-FFF2-40B4-BE49-F238E27FC236}">
                <a16:creationId xmlns:a16="http://schemas.microsoft.com/office/drawing/2014/main" id="{C4CC3C92-946B-D570-EDE3-15832CA984F0}"/>
              </a:ext>
            </a:extLst>
          </p:cNvPr>
          <p:cNvPicPr/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3" name="ZoneTexte 2">
            <a:extLst>
              <a:ext uri="{FF2B5EF4-FFF2-40B4-BE49-F238E27FC236}">
                <a16:creationId xmlns:a16="http://schemas.microsoft.com/office/drawing/2014/main" id="{79745B09-6955-14B9-9B87-26750FB5AF14}"/>
              </a:ext>
            </a:extLst>
          </p:cNvPr>
          <p:cNvSpPr txBox="1"/>
          <p:nvPr/>
        </p:nvSpPr>
        <p:spPr>
          <a:xfrm>
            <a:off x="647564" y="493832"/>
            <a:ext cx="784887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نصحح. العدد 3 هو 2 و1.</a:t>
            </a:r>
          </a:p>
          <a:p>
            <a:pPr marL="0" marR="0" lvl="0" indent="0" algn="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ar-MA" i="1" dirty="0">
                <a:solidFill>
                  <a:prstClr val="white">
                    <a:lumMod val="65000"/>
                  </a:prst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يمكن نمذجة التفكيك بالمكعبات</a:t>
            </a:r>
            <a:endParaRPr kumimoji="0" lang="ar-MA" i="1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pic>
        <p:nvPicPr>
          <p:cNvPr id="9" name="Image 8">
            <a:extLst>
              <a:ext uri="{FF2B5EF4-FFF2-40B4-BE49-F238E27FC236}">
                <a16:creationId xmlns:a16="http://schemas.microsoft.com/office/drawing/2014/main" id="{168B36C8-FE2E-7743-23D2-EAE791B92A6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49140" y="361770"/>
            <a:ext cx="1569466" cy="1119692"/>
          </a:xfrm>
          <a:prstGeom prst="rect">
            <a:avLst/>
          </a:prstGeom>
        </p:spPr>
      </p:pic>
      <p:pic>
        <p:nvPicPr>
          <p:cNvPr id="10" name="Image 9">
            <a:extLst>
              <a:ext uri="{FF2B5EF4-FFF2-40B4-BE49-F238E27FC236}">
                <a16:creationId xmlns:a16="http://schemas.microsoft.com/office/drawing/2014/main" id="{D67B801E-C4E5-A318-D32F-7E5CCAA8AC89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88375" y="2210631"/>
            <a:ext cx="8367250" cy="2665079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28E9C908-3C62-1495-75B6-7B826F440EFF}"/>
              </a:ext>
            </a:extLst>
          </p:cNvPr>
          <p:cNvSpPr/>
          <p:nvPr/>
        </p:nvSpPr>
        <p:spPr>
          <a:xfrm>
            <a:off x="2133602" y="2329708"/>
            <a:ext cx="1671484" cy="2546002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2" name="ZoneTexte 11">
            <a:extLst>
              <a:ext uri="{FF2B5EF4-FFF2-40B4-BE49-F238E27FC236}">
                <a16:creationId xmlns:a16="http://schemas.microsoft.com/office/drawing/2014/main" id="{8D47DF4E-6A87-F16B-846B-3F55D276F96F}"/>
              </a:ext>
            </a:extLst>
          </p:cNvPr>
          <p:cNvSpPr txBox="1"/>
          <p:nvPr/>
        </p:nvSpPr>
        <p:spPr>
          <a:xfrm>
            <a:off x="2440862" y="3856946"/>
            <a:ext cx="412292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ar-MA" sz="3200" dirty="0"/>
              <a:t>2</a:t>
            </a:r>
            <a:endParaRPr lang="fr-FR" sz="3200" dirty="0"/>
          </a:p>
        </p:txBody>
      </p:sp>
      <p:sp>
        <p:nvSpPr>
          <p:cNvPr id="13" name="ZoneTexte 12">
            <a:extLst>
              <a:ext uri="{FF2B5EF4-FFF2-40B4-BE49-F238E27FC236}">
                <a16:creationId xmlns:a16="http://schemas.microsoft.com/office/drawing/2014/main" id="{2D1A65EB-D30D-FF4D-EADF-A110509E920D}"/>
              </a:ext>
            </a:extLst>
          </p:cNvPr>
          <p:cNvSpPr txBox="1"/>
          <p:nvPr/>
        </p:nvSpPr>
        <p:spPr>
          <a:xfrm>
            <a:off x="3979611" y="3856945"/>
            <a:ext cx="412292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ar-MA" sz="3200" dirty="0"/>
              <a:t>3</a:t>
            </a:r>
            <a:endParaRPr lang="fr-FR" sz="3200" dirty="0"/>
          </a:p>
        </p:txBody>
      </p:sp>
      <p:sp>
        <p:nvSpPr>
          <p:cNvPr id="14" name="ZoneTexte 13">
            <a:extLst>
              <a:ext uri="{FF2B5EF4-FFF2-40B4-BE49-F238E27FC236}">
                <a16:creationId xmlns:a16="http://schemas.microsoft.com/office/drawing/2014/main" id="{46636B86-9713-0C67-4B11-84107F0484FD}"/>
              </a:ext>
            </a:extLst>
          </p:cNvPr>
          <p:cNvSpPr txBox="1"/>
          <p:nvPr/>
        </p:nvSpPr>
        <p:spPr>
          <a:xfrm>
            <a:off x="5528192" y="3856944"/>
            <a:ext cx="412292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ar-MA" sz="3200" dirty="0"/>
              <a:t>2</a:t>
            </a:r>
            <a:endParaRPr lang="fr-FR" sz="3200" dirty="0"/>
          </a:p>
        </p:txBody>
      </p:sp>
      <p:sp>
        <p:nvSpPr>
          <p:cNvPr id="28" name="ZoneTexte 27">
            <a:extLst>
              <a:ext uri="{FF2B5EF4-FFF2-40B4-BE49-F238E27FC236}">
                <a16:creationId xmlns:a16="http://schemas.microsoft.com/office/drawing/2014/main" id="{9C600FF4-A98D-271E-628B-BC8B3E37BCEB}"/>
              </a:ext>
            </a:extLst>
          </p:cNvPr>
          <p:cNvSpPr txBox="1"/>
          <p:nvPr/>
        </p:nvSpPr>
        <p:spPr>
          <a:xfrm>
            <a:off x="7125933" y="3856944"/>
            <a:ext cx="412292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ar-MA" sz="3200" dirty="0"/>
              <a:t>3</a:t>
            </a:r>
            <a:endParaRPr lang="fr-FR" sz="3200" dirty="0"/>
          </a:p>
        </p:txBody>
      </p:sp>
      <p:sp>
        <p:nvSpPr>
          <p:cNvPr id="29" name="ZoneTexte 28">
            <a:extLst>
              <a:ext uri="{FF2B5EF4-FFF2-40B4-BE49-F238E27FC236}">
                <a16:creationId xmlns:a16="http://schemas.microsoft.com/office/drawing/2014/main" id="{3558D81A-5F47-2E62-8ED8-9CE2E028B1D2}"/>
              </a:ext>
            </a:extLst>
          </p:cNvPr>
          <p:cNvSpPr txBox="1"/>
          <p:nvPr/>
        </p:nvSpPr>
        <p:spPr>
          <a:xfrm>
            <a:off x="3160414" y="3856944"/>
            <a:ext cx="412292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ar-MA" sz="3200" dirty="0">
                <a:solidFill>
                  <a:srgbClr val="0070C0"/>
                </a:solidFill>
              </a:rPr>
              <a:t>1</a:t>
            </a:r>
            <a:endParaRPr lang="fr-FR" sz="3200" dirty="0">
              <a:solidFill>
                <a:srgbClr val="0070C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958617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9" grpId="0"/>
    </p:bld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5929083-182F-20A3-B812-403A143A8F0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3">
            <a:extLst>
              <a:ext uri="{FF2B5EF4-FFF2-40B4-BE49-F238E27FC236}">
                <a16:creationId xmlns:a16="http://schemas.microsoft.com/office/drawing/2014/main" id="{EAEFD5F1-8DC6-74A1-77D2-4DEE22A15EAB}"/>
              </a:ext>
            </a:extLst>
          </p:cNvPr>
          <p:cNvPicPr/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3" name="ZoneTexte 2">
            <a:extLst>
              <a:ext uri="{FF2B5EF4-FFF2-40B4-BE49-F238E27FC236}">
                <a16:creationId xmlns:a16="http://schemas.microsoft.com/office/drawing/2014/main" id="{EB6625E9-DA2A-BDE1-CE9A-B50A931CE2F5}"/>
              </a:ext>
            </a:extLst>
          </p:cNvPr>
          <p:cNvSpPr txBox="1"/>
          <p:nvPr/>
        </p:nvSpPr>
        <p:spPr>
          <a:xfrm>
            <a:off x="647564" y="493832"/>
            <a:ext cx="784887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العدد 4 هو 3 و1.</a:t>
            </a:r>
          </a:p>
          <a:p>
            <a:pPr marL="0" marR="0" lvl="0" indent="0" algn="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ar-MA" i="1" dirty="0">
                <a:solidFill>
                  <a:prstClr val="white">
                    <a:lumMod val="65000"/>
                  </a:prst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يمكن نمذجة التفكيك بالمكعبات</a:t>
            </a:r>
            <a:endParaRPr kumimoji="0" lang="ar-MA" i="1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pic>
        <p:nvPicPr>
          <p:cNvPr id="9" name="Image 8">
            <a:extLst>
              <a:ext uri="{FF2B5EF4-FFF2-40B4-BE49-F238E27FC236}">
                <a16:creationId xmlns:a16="http://schemas.microsoft.com/office/drawing/2014/main" id="{09F8861B-912C-DA1C-DC19-FA2417DAB81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49140" y="361770"/>
            <a:ext cx="1569466" cy="1119692"/>
          </a:xfrm>
          <a:prstGeom prst="rect">
            <a:avLst/>
          </a:prstGeom>
        </p:spPr>
      </p:pic>
      <p:pic>
        <p:nvPicPr>
          <p:cNvPr id="10" name="Image 9">
            <a:extLst>
              <a:ext uri="{FF2B5EF4-FFF2-40B4-BE49-F238E27FC236}">
                <a16:creationId xmlns:a16="http://schemas.microsoft.com/office/drawing/2014/main" id="{70964E6F-7E54-94AA-41E4-ED130AC66A4C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88375" y="2210631"/>
            <a:ext cx="8367250" cy="2665079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8BD5185A-CE5E-5932-3977-D9BD5D28F33A}"/>
              </a:ext>
            </a:extLst>
          </p:cNvPr>
          <p:cNvSpPr/>
          <p:nvPr/>
        </p:nvSpPr>
        <p:spPr>
          <a:xfrm>
            <a:off x="3716596" y="2329708"/>
            <a:ext cx="1671484" cy="2546002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2" name="ZoneTexte 11">
            <a:extLst>
              <a:ext uri="{FF2B5EF4-FFF2-40B4-BE49-F238E27FC236}">
                <a16:creationId xmlns:a16="http://schemas.microsoft.com/office/drawing/2014/main" id="{06A0EB2A-583B-89A9-800A-9FF53C2EF9A3}"/>
              </a:ext>
            </a:extLst>
          </p:cNvPr>
          <p:cNvSpPr txBox="1"/>
          <p:nvPr/>
        </p:nvSpPr>
        <p:spPr>
          <a:xfrm>
            <a:off x="2440862" y="3856946"/>
            <a:ext cx="412292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ar-MA" sz="3200" dirty="0"/>
              <a:t>2</a:t>
            </a:r>
            <a:endParaRPr lang="fr-FR" sz="3200" dirty="0"/>
          </a:p>
        </p:txBody>
      </p:sp>
      <p:sp>
        <p:nvSpPr>
          <p:cNvPr id="13" name="ZoneTexte 12">
            <a:extLst>
              <a:ext uri="{FF2B5EF4-FFF2-40B4-BE49-F238E27FC236}">
                <a16:creationId xmlns:a16="http://schemas.microsoft.com/office/drawing/2014/main" id="{2FC4BE15-5E87-645A-8725-EA1ABDB2BD27}"/>
              </a:ext>
            </a:extLst>
          </p:cNvPr>
          <p:cNvSpPr txBox="1"/>
          <p:nvPr/>
        </p:nvSpPr>
        <p:spPr>
          <a:xfrm>
            <a:off x="3979611" y="3856945"/>
            <a:ext cx="412292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ar-MA" sz="3200" dirty="0"/>
              <a:t>3</a:t>
            </a:r>
            <a:endParaRPr lang="fr-FR" sz="3200" dirty="0"/>
          </a:p>
        </p:txBody>
      </p:sp>
      <p:sp>
        <p:nvSpPr>
          <p:cNvPr id="14" name="ZoneTexte 13">
            <a:extLst>
              <a:ext uri="{FF2B5EF4-FFF2-40B4-BE49-F238E27FC236}">
                <a16:creationId xmlns:a16="http://schemas.microsoft.com/office/drawing/2014/main" id="{3BB4CA02-479D-995B-310A-0FC13395EA5E}"/>
              </a:ext>
            </a:extLst>
          </p:cNvPr>
          <p:cNvSpPr txBox="1"/>
          <p:nvPr/>
        </p:nvSpPr>
        <p:spPr>
          <a:xfrm>
            <a:off x="5528192" y="3856944"/>
            <a:ext cx="412292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ar-MA" sz="3200" dirty="0"/>
              <a:t>2</a:t>
            </a:r>
            <a:endParaRPr lang="fr-FR" sz="3200" dirty="0"/>
          </a:p>
        </p:txBody>
      </p:sp>
      <p:sp>
        <p:nvSpPr>
          <p:cNvPr id="28" name="ZoneTexte 27">
            <a:extLst>
              <a:ext uri="{FF2B5EF4-FFF2-40B4-BE49-F238E27FC236}">
                <a16:creationId xmlns:a16="http://schemas.microsoft.com/office/drawing/2014/main" id="{74659B3B-FF63-26ED-3EA2-92D9F4C162AD}"/>
              </a:ext>
            </a:extLst>
          </p:cNvPr>
          <p:cNvSpPr txBox="1"/>
          <p:nvPr/>
        </p:nvSpPr>
        <p:spPr>
          <a:xfrm>
            <a:off x="7125933" y="3856944"/>
            <a:ext cx="412292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ar-MA" sz="3200" dirty="0"/>
              <a:t>3</a:t>
            </a:r>
            <a:endParaRPr lang="fr-FR" sz="3200" dirty="0"/>
          </a:p>
        </p:txBody>
      </p:sp>
      <p:sp>
        <p:nvSpPr>
          <p:cNvPr id="29" name="ZoneTexte 28">
            <a:extLst>
              <a:ext uri="{FF2B5EF4-FFF2-40B4-BE49-F238E27FC236}">
                <a16:creationId xmlns:a16="http://schemas.microsoft.com/office/drawing/2014/main" id="{B60456A6-A951-8549-F576-D918A0FD06F2}"/>
              </a:ext>
            </a:extLst>
          </p:cNvPr>
          <p:cNvSpPr txBox="1"/>
          <p:nvPr/>
        </p:nvSpPr>
        <p:spPr>
          <a:xfrm>
            <a:off x="3160414" y="3856944"/>
            <a:ext cx="412292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ar-MA" sz="3200" dirty="0">
                <a:solidFill>
                  <a:srgbClr val="0070C0"/>
                </a:solidFill>
              </a:rPr>
              <a:t>1</a:t>
            </a:r>
            <a:endParaRPr lang="fr-FR" sz="3200" dirty="0">
              <a:solidFill>
                <a:srgbClr val="0070C0"/>
              </a:solidFill>
            </a:endParaRPr>
          </a:p>
        </p:txBody>
      </p:sp>
      <p:sp>
        <p:nvSpPr>
          <p:cNvPr id="2" name="ZoneTexte 1">
            <a:extLst>
              <a:ext uri="{FF2B5EF4-FFF2-40B4-BE49-F238E27FC236}">
                <a16:creationId xmlns:a16="http://schemas.microsoft.com/office/drawing/2014/main" id="{DEAEF5AE-DECB-53AC-2F67-1B19810398E8}"/>
              </a:ext>
            </a:extLst>
          </p:cNvPr>
          <p:cNvSpPr txBox="1"/>
          <p:nvPr/>
        </p:nvSpPr>
        <p:spPr>
          <a:xfrm>
            <a:off x="4704415" y="3856943"/>
            <a:ext cx="412292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ar-MA" sz="3200" dirty="0">
                <a:solidFill>
                  <a:srgbClr val="0070C0"/>
                </a:solidFill>
              </a:rPr>
              <a:t>1</a:t>
            </a:r>
            <a:endParaRPr lang="fr-FR" sz="3200" dirty="0">
              <a:solidFill>
                <a:srgbClr val="0070C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2286960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5D64585-707E-CB83-345C-8C3E1F83DCA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3">
            <a:extLst>
              <a:ext uri="{FF2B5EF4-FFF2-40B4-BE49-F238E27FC236}">
                <a16:creationId xmlns:a16="http://schemas.microsoft.com/office/drawing/2014/main" id="{A2A6290B-D87E-5FA3-FFCB-CA93C81FF7D3}"/>
              </a:ext>
            </a:extLst>
          </p:cNvPr>
          <p:cNvPicPr/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3" name="ZoneTexte 2">
            <a:extLst>
              <a:ext uri="{FF2B5EF4-FFF2-40B4-BE49-F238E27FC236}">
                <a16:creationId xmlns:a16="http://schemas.microsoft.com/office/drawing/2014/main" id="{328A2939-557F-E2B4-0E85-BC42AAA9794D}"/>
              </a:ext>
            </a:extLst>
          </p:cNvPr>
          <p:cNvSpPr txBox="1"/>
          <p:nvPr/>
        </p:nvSpPr>
        <p:spPr>
          <a:xfrm>
            <a:off x="647564" y="493832"/>
            <a:ext cx="784887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العدد 5 هو 2 و3.</a:t>
            </a:r>
          </a:p>
          <a:p>
            <a:pPr marL="0" marR="0" lvl="0" indent="0" algn="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ar-MA" i="1" dirty="0">
                <a:solidFill>
                  <a:prstClr val="white">
                    <a:lumMod val="65000"/>
                  </a:prst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يمكن نمذجة التفكيك بالمكعبات</a:t>
            </a:r>
            <a:endParaRPr kumimoji="0" lang="ar-MA" i="1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pic>
        <p:nvPicPr>
          <p:cNvPr id="9" name="Image 8">
            <a:extLst>
              <a:ext uri="{FF2B5EF4-FFF2-40B4-BE49-F238E27FC236}">
                <a16:creationId xmlns:a16="http://schemas.microsoft.com/office/drawing/2014/main" id="{A6943FF8-0F5C-44C7-3700-7AF74499F42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49140" y="361770"/>
            <a:ext cx="1569466" cy="1119692"/>
          </a:xfrm>
          <a:prstGeom prst="rect">
            <a:avLst/>
          </a:prstGeom>
        </p:spPr>
      </p:pic>
      <p:pic>
        <p:nvPicPr>
          <p:cNvPr id="10" name="Image 9">
            <a:extLst>
              <a:ext uri="{FF2B5EF4-FFF2-40B4-BE49-F238E27FC236}">
                <a16:creationId xmlns:a16="http://schemas.microsoft.com/office/drawing/2014/main" id="{7725D28F-2304-A2D8-CEB5-38A80A86510C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88375" y="2210631"/>
            <a:ext cx="8367250" cy="2665079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20ECA913-B087-813C-C95B-49AAD60CCAC5}"/>
              </a:ext>
            </a:extLst>
          </p:cNvPr>
          <p:cNvSpPr/>
          <p:nvPr/>
        </p:nvSpPr>
        <p:spPr>
          <a:xfrm>
            <a:off x="5270097" y="2329708"/>
            <a:ext cx="1671484" cy="2546002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2" name="ZoneTexte 11">
            <a:extLst>
              <a:ext uri="{FF2B5EF4-FFF2-40B4-BE49-F238E27FC236}">
                <a16:creationId xmlns:a16="http://schemas.microsoft.com/office/drawing/2014/main" id="{3456CE13-CBF9-DFE8-16AC-8519CE69741B}"/>
              </a:ext>
            </a:extLst>
          </p:cNvPr>
          <p:cNvSpPr txBox="1"/>
          <p:nvPr/>
        </p:nvSpPr>
        <p:spPr>
          <a:xfrm>
            <a:off x="2440862" y="3856946"/>
            <a:ext cx="412292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ar-MA" sz="3200" dirty="0"/>
              <a:t>2</a:t>
            </a:r>
            <a:endParaRPr lang="fr-FR" sz="3200" dirty="0"/>
          </a:p>
        </p:txBody>
      </p:sp>
      <p:sp>
        <p:nvSpPr>
          <p:cNvPr id="13" name="ZoneTexte 12">
            <a:extLst>
              <a:ext uri="{FF2B5EF4-FFF2-40B4-BE49-F238E27FC236}">
                <a16:creationId xmlns:a16="http://schemas.microsoft.com/office/drawing/2014/main" id="{5AD33483-D09B-D279-7B98-BD2628F97D6A}"/>
              </a:ext>
            </a:extLst>
          </p:cNvPr>
          <p:cNvSpPr txBox="1"/>
          <p:nvPr/>
        </p:nvSpPr>
        <p:spPr>
          <a:xfrm>
            <a:off x="3979611" y="3856945"/>
            <a:ext cx="412292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ar-MA" sz="3200" dirty="0"/>
              <a:t>3</a:t>
            </a:r>
            <a:endParaRPr lang="fr-FR" sz="3200" dirty="0"/>
          </a:p>
        </p:txBody>
      </p:sp>
      <p:sp>
        <p:nvSpPr>
          <p:cNvPr id="14" name="ZoneTexte 13">
            <a:extLst>
              <a:ext uri="{FF2B5EF4-FFF2-40B4-BE49-F238E27FC236}">
                <a16:creationId xmlns:a16="http://schemas.microsoft.com/office/drawing/2014/main" id="{D4D150BB-F35A-C5AB-D510-B7BA813E3568}"/>
              </a:ext>
            </a:extLst>
          </p:cNvPr>
          <p:cNvSpPr txBox="1"/>
          <p:nvPr/>
        </p:nvSpPr>
        <p:spPr>
          <a:xfrm>
            <a:off x="5528192" y="3856944"/>
            <a:ext cx="412292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ar-MA" sz="3200" dirty="0"/>
              <a:t>2</a:t>
            </a:r>
            <a:endParaRPr lang="fr-FR" sz="3200" dirty="0"/>
          </a:p>
        </p:txBody>
      </p:sp>
      <p:sp>
        <p:nvSpPr>
          <p:cNvPr id="28" name="ZoneTexte 27">
            <a:extLst>
              <a:ext uri="{FF2B5EF4-FFF2-40B4-BE49-F238E27FC236}">
                <a16:creationId xmlns:a16="http://schemas.microsoft.com/office/drawing/2014/main" id="{636AB0E0-2367-B1CA-8F9D-669388292F43}"/>
              </a:ext>
            </a:extLst>
          </p:cNvPr>
          <p:cNvSpPr txBox="1"/>
          <p:nvPr/>
        </p:nvSpPr>
        <p:spPr>
          <a:xfrm>
            <a:off x="7125933" y="3856944"/>
            <a:ext cx="412292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ar-MA" sz="3200" dirty="0"/>
              <a:t>3</a:t>
            </a:r>
            <a:endParaRPr lang="fr-FR" sz="3200" dirty="0"/>
          </a:p>
        </p:txBody>
      </p:sp>
      <p:sp>
        <p:nvSpPr>
          <p:cNvPr id="29" name="ZoneTexte 28">
            <a:extLst>
              <a:ext uri="{FF2B5EF4-FFF2-40B4-BE49-F238E27FC236}">
                <a16:creationId xmlns:a16="http://schemas.microsoft.com/office/drawing/2014/main" id="{DCBB8615-E657-EE08-1489-A1FB5BAFC6EE}"/>
              </a:ext>
            </a:extLst>
          </p:cNvPr>
          <p:cNvSpPr txBox="1"/>
          <p:nvPr/>
        </p:nvSpPr>
        <p:spPr>
          <a:xfrm>
            <a:off x="3160414" y="3856944"/>
            <a:ext cx="412292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ar-MA" sz="3200" dirty="0">
                <a:solidFill>
                  <a:srgbClr val="0070C0"/>
                </a:solidFill>
              </a:rPr>
              <a:t>1</a:t>
            </a:r>
            <a:endParaRPr lang="fr-FR" sz="3200" dirty="0">
              <a:solidFill>
                <a:srgbClr val="0070C0"/>
              </a:solidFill>
            </a:endParaRPr>
          </a:p>
        </p:txBody>
      </p:sp>
      <p:sp>
        <p:nvSpPr>
          <p:cNvPr id="2" name="ZoneTexte 1">
            <a:extLst>
              <a:ext uri="{FF2B5EF4-FFF2-40B4-BE49-F238E27FC236}">
                <a16:creationId xmlns:a16="http://schemas.microsoft.com/office/drawing/2014/main" id="{A3E7CE9A-ECF0-2775-3D9B-20CA6A39E2E4}"/>
              </a:ext>
            </a:extLst>
          </p:cNvPr>
          <p:cNvSpPr txBox="1"/>
          <p:nvPr/>
        </p:nvSpPr>
        <p:spPr>
          <a:xfrm>
            <a:off x="4704415" y="3856943"/>
            <a:ext cx="412292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ar-MA" sz="3200" dirty="0">
                <a:solidFill>
                  <a:srgbClr val="0070C0"/>
                </a:solidFill>
              </a:rPr>
              <a:t>1</a:t>
            </a:r>
            <a:endParaRPr lang="fr-FR" sz="3200" dirty="0">
              <a:solidFill>
                <a:srgbClr val="0070C0"/>
              </a:solidFill>
            </a:endParaRPr>
          </a:p>
        </p:txBody>
      </p:sp>
      <p:sp>
        <p:nvSpPr>
          <p:cNvPr id="5" name="ZoneTexte 4">
            <a:extLst>
              <a:ext uri="{FF2B5EF4-FFF2-40B4-BE49-F238E27FC236}">
                <a16:creationId xmlns:a16="http://schemas.microsoft.com/office/drawing/2014/main" id="{33C1C44C-3C06-3375-AA4B-E247B160DD49}"/>
              </a:ext>
            </a:extLst>
          </p:cNvPr>
          <p:cNvSpPr txBox="1"/>
          <p:nvPr/>
        </p:nvSpPr>
        <p:spPr>
          <a:xfrm>
            <a:off x="6225060" y="3856942"/>
            <a:ext cx="412292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ar-MA" sz="3200" dirty="0">
                <a:solidFill>
                  <a:srgbClr val="0070C0"/>
                </a:solidFill>
              </a:rPr>
              <a:t>3</a:t>
            </a:r>
            <a:endParaRPr lang="fr-FR" sz="3200" dirty="0">
              <a:solidFill>
                <a:srgbClr val="0070C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3955415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</p:bld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1CE323D-FFE5-A3C0-E7D1-46C4045612C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3">
            <a:extLst>
              <a:ext uri="{FF2B5EF4-FFF2-40B4-BE49-F238E27FC236}">
                <a16:creationId xmlns:a16="http://schemas.microsoft.com/office/drawing/2014/main" id="{495B6116-2AED-AE78-8C14-6EE3FBBA52A0}"/>
              </a:ext>
            </a:extLst>
          </p:cNvPr>
          <p:cNvPicPr/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3" name="ZoneTexte 2">
            <a:extLst>
              <a:ext uri="{FF2B5EF4-FFF2-40B4-BE49-F238E27FC236}">
                <a16:creationId xmlns:a16="http://schemas.microsoft.com/office/drawing/2014/main" id="{1A7FA151-EA5F-3726-D2B1-414AFBB06D4E}"/>
              </a:ext>
            </a:extLst>
          </p:cNvPr>
          <p:cNvSpPr txBox="1"/>
          <p:nvPr/>
        </p:nvSpPr>
        <p:spPr>
          <a:xfrm>
            <a:off x="647564" y="493832"/>
            <a:ext cx="784887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العدد 5 هو 3 و2.</a:t>
            </a:r>
          </a:p>
          <a:p>
            <a:pPr marL="0" marR="0" lvl="0" indent="0" algn="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ar-MA" i="1" dirty="0">
                <a:solidFill>
                  <a:prstClr val="white">
                    <a:lumMod val="65000"/>
                  </a:prst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يمكن نمذجة التفكيك بالمكعبات</a:t>
            </a:r>
            <a:endParaRPr kumimoji="0" lang="ar-MA" i="1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pic>
        <p:nvPicPr>
          <p:cNvPr id="9" name="Image 8">
            <a:extLst>
              <a:ext uri="{FF2B5EF4-FFF2-40B4-BE49-F238E27FC236}">
                <a16:creationId xmlns:a16="http://schemas.microsoft.com/office/drawing/2014/main" id="{B843A32F-7B5E-2D99-5D8F-80C808D43A9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49140" y="361770"/>
            <a:ext cx="1569466" cy="1119692"/>
          </a:xfrm>
          <a:prstGeom prst="rect">
            <a:avLst/>
          </a:prstGeom>
        </p:spPr>
      </p:pic>
      <p:pic>
        <p:nvPicPr>
          <p:cNvPr id="10" name="Image 9">
            <a:extLst>
              <a:ext uri="{FF2B5EF4-FFF2-40B4-BE49-F238E27FC236}">
                <a16:creationId xmlns:a16="http://schemas.microsoft.com/office/drawing/2014/main" id="{322753A9-EBAE-D64E-8B28-9782F8063410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88375" y="2210631"/>
            <a:ext cx="8367250" cy="2665079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C4057462-FAF6-2CC0-5F51-2099B06BE4E2}"/>
              </a:ext>
            </a:extLst>
          </p:cNvPr>
          <p:cNvSpPr/>
          <p:nvPr/>
        </p:nvSpPr>
        <p:spPr>
          <a:xfrm>
            <a:off x="6921918" y="2329708"/>
            <a:ext cx="1671484" cy="2546002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2" name="ZoneTexte 11">
            <a:extLst>
              <a:ext uri="{FF2B5EF4-FFF2-40B4-BE49-F238E27FC236}">
                <a16:creationId xmlns:a16="http://schemas.microsoft.com/office/drawing/2014/main" id="{521D7F9D-A478-4306-A3DB-765C347967DA}"/>
              </a:ext>
            </a:extLst>
          </p:cNvPr>
          <p:cNvSpPr txBox="1"/>
          <p:nvPr/>
        </p:nvSpPr>
        <p:spPr>
          <a:xfrm>
            <a:off x="2440862" y="3856946"/>
            <a:ext cx="412292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ar-MA" sz="3200" dirty="0"/>
              <a:t>2</a:t>
            </a:r>
            <a:endParaRPr lang="fr-FR" sz="3200" dirty="0"/>
          </a:p>
        </p:txBody>
      </p:sp>
      <p:sp>
        <p:nvSpPr>
          <p:cNvPr id="13" name="ZoneTexte 12">
            <a:extLst>
              <a:ext uri="{FF2B5EF4-FFF2-40B4-BE49-F238E27FC236}">
                <a16:creationId xmlns:a16="http://schemas.microsoft.com/office/drawing/2014/main" id="{A5491DC1-C2DC-F470-85FD-D7A13A4CC097}"/>
              </a:ext>
            </a:extLst>
          </p:cNvPr>
          <p:cNvSpPr txBox="1"/>
          <p:nvPr/>
        </p:nvSpPr>
        <p:spPr>
          <a:xfrm>
            <a:off x="3979611" y="3856945"/>
            <a:ext cx="412292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ar-MA" sz="3200" dirty="0"/>
              <a:t>3</a:t>
            </a:r>
            <a:endParaRPr lang="fr-FR" sz="3200" dirty="0"/>
          </a:p>
        </p:txBody>
      </p:sp>
      <p:sp>
        <p:nvSpPr>
          <p:cNvPr id="14" name="ZoneTexte 13">
            <a:extLst>
              <a:ext uri="{FF2B5EF4-FFF2-40B4-BE49-F238E27FC236}">
                <a16:creationId xmlns:a16="http://schemas.microsoft.com/office/drawing/2014/main" id="{1961FBEF-4EBF-A741-F44A-B1D6164BF40C}"/>
              </a:ext>
            </a:extLst>
          </p:cNvPr>
          <p:cNvSpPr txBox="1"/>
          <p:nvPr/>
        </p:nvSpPr>
        <p:spPr>
          <a:xfrm>
            <a:off x="5528192" y="3856944"/>
            <a:ext cx="412292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ar-MA" sz="3200" dirty="0"/>
              <a:t>2</a:t>
            </a:r>
            <a:endParaRPr lang="fr-FR" sz="3200" dirty="0"/>
          </a:p>
        </p:txBody>
      </p:sp>
      <p:sp>
        <p:nvSpPr>
          <p:cNvPr id="28" name="ZoneTexte 27">
            <a:extLst>
              <a:ext uri="{FF2B5EF4-FFF2-40B4-BE49-F238E27FC236}">
                <a16:creationId xmlns:a16="http://schemas.microsoft.com/office/drawing/2014/main" id="{19410E5E-A7CE-3E7B-29C9-074EAD17CD30}"/>
              </a:ext>
            </a:extLst>
          </p:cNvPr>
          <p:cNvSpPr txBox="1"/>
          <p:nvPr/>
        </p:nvSpPr>
        <p:spPr>
          <a:xfrm>
            <a:off x="7125933" y="3856944"/>
            <a:ext cx="412292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ar-MA" sz="3200" dirty="0"/>
              <a:t>3</a:t>
            </a:r>
            <a:endParaRPr lang="fr-FR" sz="3200" dirty="0"/>
          </a:p>
        </p:txBody>
      </p:sp>
      <p:sp>
        <p:nvSpPr>
          <p:cNvPr id="29" name="ZoneTexte 28">
            <a:extLst>
              <a:ext uri="{FF2B5EF4-FFF2-40B4-BE49-F238E27FC236}">
                <a16:creationId xmlns:a16="http://schemas.microsoft.com/office/drawing/2014/main" id="{E69A9B33-BFF4-1F38-716B-4D33A65B5612}"/>
              </a:ext>
            </a:extLst>
          </p:cNvPr>
          <p:cNvSpPr txBox="1"/>
          <p:nvPr/>
        </p:nvSpPr>
        <p:spPr>
          <a:xfrm>
            <a:off x="3160414" y="3856944"/>
            <a:ext cx="412292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ar-MA" sz="3200" dirty="0">
                <a:solidFill>
                  <a:srgbClr val="0070C0"/>
                </a:solidFill>
              </a:rPr>
              <a:t>1</a:t>
            </a:r>
            <a:endParaRPr lang="fr-FR" sz="3200" dirty="0">
              <a:solidFill>
                <a:srgbClr val="0070C0"/>
              </a:solidFill>
            </a:endParaRPr>
          </a:p>
        </p:txBody>
      </p:sp>
      <p:sp>
        <p:nvSpPr>
          <p:cNvPr id="2" name="ZoneTexte 1">
            <a:extLst>
              <a:ext uri="{FF2B5EF4-FFF2-40B4-BE49-F238E27FC236}">
                <a16:creationId xmlns:a16="http://schemas.microsoft.com/office/drawing/2014/main" id="{D5374579-0FBC-F1C5-A0F5-552A4E4B1A9F}"/>
              </a:ext>
            </a:extLst>
          </p:cNvPr>
          <p:cNvSpPr txBox="1"/>
          <p:nvPr/>
        </p:nvSpPr>
        <p:spPr>
          <a:xfrm>
            <a:off x="4704415" y="3856943"/>
            <a:ext cx="412292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ar-MA" sz="3200" dirty="0">
                <a:solidFill>
                  <a:srgbClr val="0070C0"/>
                </a:solidFill>
              </a:rPr>
              <a:t>1</a:t>
            </a:r>
            <a:endParaRPr lang="fr-FR" sz="3200" dirty="0">
              <a:solidFill>
                <a:srgbClr val="0070C0"/>
              </a:solidFill>
            </a:endParaRPr>
          </a:p>
        </p:txBody>
      </p:sp>
      <p:sp>
        <p:nvSpPr>
          <p:cNvPr id="5" name="ZoneTexte 4">
            <a:extLst>
              <a:ext uri="{FF2B5EF4-FFF2-40B4-BE49-F238E27FC236}">
                <a16:creationId xmlns:a16="http://schemas.microsoft.com/office/drawing/2014/main" id="{0EA08889-EC1C-A6DB-21F2-E2AED32C2358}"/>
              </a:ext>
            </a:extLst>
          </p:cNvPr>
          <p:cNvSpPr txBox="1"/>
          <p:nvPr/>
        </p:nvSpPr>
        <p:spPr>
          <a:xfrm>
            <a:off x="6225060" y="3856942"/>
            <a:ext cx="412292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ar-MA" sz="3200" dirty="0">
                <a:solidFill>
                  <a:srgbClr val="0070C0"/>
                </a:solidFill>
              </a:rPr>
              <a:t>3</a:t>
            </a:r>
            <a:endParaRPr lang="fr-FR" sz="3200" dirty="0">
              <a:solidFill>
                <a:srgbClr val="0070C0"/>
              </a:solidFill>
            </a:endParaRPr>
          </a:p>
        </p:txBody>
      </p:sp>
      <p:sp>
        <p:nvSpPr>
          <p:cNvPr id="6" name="ZoneTexte 5">
            <a:extLst>
              <a:ext uri="{FF2B5EF4-FFF2-40B4-BE49-F238E27FC236}">
                <a16:creationId xmlns:a16="http://schemas.microsoft.com/office/drawing/2014/main" id="{315062BD-BC7C-603A-FE65-74517619A395}"/>
              </a:ext>
            </a:extLst>
          </p:cNvPr>
          <p:cNvSpPr txBox="1"/>
          <p:nvPr/>
        </p:nvSpPr>
        <p:spPr>
          <a:xfrm>
            <a:off x="7842455" y="3847110"/>
            <a:ext cx="412292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ar-MA" sz="3200" dirty="0">
                <a:solidFill>
                  <a:srgbClr val="0070C0"/>
                </a:solidFill>
              </a:rPr>
              <a:t>2</a:t>
            </a:r>
            <a:endParaRPr lang="fr-FR" sz="3200" dirty="0">
              <a:solidFill>
                <a:srgbClr val="0070C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052964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</p:bld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2">
            <a:extLst>
              <a:ext uri="{FF2B5EF4-FFF2-40B4-BE49-F238E27FC236}">
                <a16:creationId xmlns:a16="http://schemas.microsoft.com/office/drawing/2014/main" id="{3E48B176-737A-9792-E08B-7DC87159D4FE}"/>
              </a:ext>
            </a:extLst>
          </p:cNvPr>
          <p:cNvSpPr/>
          <p:nvPr/>
        </p:nvSpPr>
        <p:spPr>
          <a:xfrm>
            <a:off x="0" y="0"/>
            <a:ext cx="9144000" cy="6858000"/>
          </a:xfrm>
          <a:custGeom>
            <a:avLst/>
            <a:gdLst/>
            <a:ahLst/>
            <a:cxnLst/>
            <a:rect l="l" t="t" r="r" b="b"/>
            <a:pathLst>
              <a:path w="18288000" h="10287000">
                <a:moveTo>
                  <a:pt x="0" y="0"/>
                </a:moveTo>
                <a:lnTo>
                  <a:pt x="18288000" y="0"/>
                </a:lnTo>
                <a:lnTo>
                  <a:pt x="18288000" y="10287000"/>
                </a:lnTo>
                <a:lnTo>
                  <a:pt x="0" y="10287000"/>
                </a:lnTo>
                <a:lnTo>
                  <a:pt x="0" y="0"/>
                </a:lnTo>
                <a:close/>
              </a:path>
            </a:pathLst>
          </a:custGeom>
          <a:blipFill>
            <a:blip r:embed="rId2"/>
            <a:stretch>
              <a:fillRect t="-5555" b="-5555"/>
            </a:stretch>
          </a:blipFill>
        </p:spPr>
        <p:txBody>
          <a:bodyPr/>
          <a:lstStyle/>
          <a:p>
            <a:endParaRPr lang="fr-MA" sz="900">
              <a:latin typeface="Dosis" pitchFamily="2" charset="0"/>
            </a:endParaRPr>
          </a:p>
        </p:txBody>
      </p:sp>
      <p:sp>
        <p:nvSpPr>
          <p:cNvPr id="2" name="Ellipse 62">
            <a:extLst>
              <a:ext uri="{FF2B5EF4-FFF2-40B4-BE49-F238E27FC236}">
                <a16:creationId xmlns:a16="http://schemas.microsoft.com/office/drawing/2014/main" id="{FD4561E1-693D-F1CD-DF17-929DA64BE9B9}"/>
              </a:ext>
            </a:extLst>
          </p:cNvPr>
          <p:cNvSpPr/>
          <p:nvPr/>
        </p:nvSpPr>
        <p:spPr>
          <a:xfrm>
            <a:off x="1331640" y="0"/>
            <a:ext cx="6811591" cy="6811591"/>
          </a:xfrm>
          <a:prstGeom prst="ellipse">
            <a:avLst/>
          </a:prstGeom>
          <a:solidFill>
            <a:srgbClr val="D6E9EA">
              <a:alpha val="34000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sp>
        <p:nvSpPr>
          <p:cNvPr id="6" name="TextBox 6"/>
          <p:cNvSpPr txBox="1"/>
          <p:nvPr/>
        </p:nvSpPr>
        <p:spPr>
          <a:xfrm>
            <a:off x="1574801" y="2717800"/>
            <a:ext cx="6444063" cy="677943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 rtl="1">
              <a:lnSpc>
                <a:spcPts val="5486"/>
              </a:lnSpc>
            </a:pPr>
            <a:r>
              <a:rPr lang="ar-MA" sz="4400" b="1">
                <a:solidFill>
                  <a:srgbClr val="106585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5. اختتام الحصة</a:t>
            </a:r>
            <a:endParaRPr lang="ar-MA" sz="1600" b="1">
              <a:solidFill>
                <a:srgbClr val="106585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9" name="Freeform 9"/>
          <p:cNvSpPr/>
          <p:nvPr/>
        </p:nvSpPr>
        <p:spPr>
          <a:xfrm>
            <a:off x="21422" y="5622104"/>
            <a:ext cx="995130" cy="1233596"/>
          </a:xfrm>
          <a:custGeom>
            <a:avLst/>
            <a:gdLst/>
            <a:ahLst/>
            <a:cxnLst/>
            <a:rect l="l" t="t" r="r" b="b"/>
            <a:pathLst>
              <a:path w="2684349" h="3327606">
                <a:moveTo>
                  <a:pt x="0" y="0"/>
                </a:moveTo>
                <a:lnTo>
                  <a:pt x="2684349" y="0"/>
                </a:lnTo>
                <a:lnTo>
                  <a:pt x="2684349" y="3327606"/>
                </a:lnTo>
                <a:lnTo>
                  <a:pt x="0" y="3327606"/>
                </a:lnTo>
                <a:lnTo>
                  <a:pt x="0" y="0"/>
                </a:lnTo>
                <a:close/>
              </a:path>
            </a:pathLst>
          </a:custGeo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 l="-157570" t="-6438" b="-44673"/>
            </a:stretch>
          </a:blipFill>
          <a:ln>
            <a:noFill/>
          </a:ln>
        </p:spPr>
        <p:txBody>
          <a:bodyPr/>
          <a:lstStyle/>
          <a:p>
            <a:endParaRPr lang="fr-MA" sz="428">
              <a:latin typeface="Dosis" pitchFamily="2" charset="0"/>
            </a:endParaRPr>
          </a:p>
        </p:txBody>
      </p:sp>
      <p:sp>
        <p:nvSpPr>
          <p:cNvPr id="10" name="Freeform 10"/>
          <p:cNvSpPr/>
          <p:nvPr/>
        </p:nvSpPr>
        <p:spPr>
          <a:xfrm>
            <a:off x="7804155" y="5463344"/>
            <a:ext cx="1318425" cy="1392356"/>
          </a:xfrm>
          <a:custGeom>
            <a:avLst/>
            <a:gdLst/>
            <a:ahLst/>
            <a:cxnLst/>
            <a:rect l="l" t="t" r="r" b="b"/>
            <a:pathLst>
              <a:path w="3556432" h="3755858">
                <a:moveTo>
                  <a:pt x="0" y="0"/>
                </a:moveTo>
                <a:lnTo>
                  <a:pt x="3556432" y="0"/>
                </a:lnTo>
                <a:lnTo>
                  <a:pt x="3556432" y="3755858"/>
                </a:lnTo>
                <a:lnTo>
                  <a:pt x="0" y="3755858"/>
                </a:lnTo>
                <a:lnTo>
                  <a:pt x="0" y="0"/>
                </a:lnTo>
                <a:close/>
              </a:path>
            </a:pathLst>
          </a:custGeo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 l="-4351" t="-332" r="-93446" b="-41558"/>
            </a:stretch>
          </a:blipFill>
        </p:spPr>
        <p:txBody>
          <a:bodyPr/>
          <a:lstStyle/>
          <a:p>
            <a:endParaRPr lang="fr-MA" sz="428">
              <a:latin typeface="Dosis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10812264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94D9FBC4-7A35-4107-DD93-5DD8FED9D6D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 5">
            <a:extLst>
              <a:ext uri="{FF2B5EF4-FFF2-40B4-BE49-F238E27FC236}">
                <a16:creationId xmlns:a16="http://schemas.microsoft.com/office/drawing/2014/main" id="{D3107F2A-698F-8FB0-703C-2A21172BFF71}"/>
              </a:ext>
            </a:extLst>
          </p:cNvPr>
          <p:cNvPicPr/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pic>
        <p:nvPicPr>
          <p:cNvPr id="2" name="Picture 9">
            <a:extLst>
              <a:ext uri="{FF2B5EF4-FFF2-40B4-BE49-F238E27FC236}">
                <a16:creationId xmlns:a16="http://schemas.microsoft.com/office/drawing/2014/main" id="{C94827C3-2196-10E3-BA9C-D08BAEE2EB4A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995720" y="1524095"/>
            <a:ext cx="3416785" cy="4700162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3" name="Picture 6">
            <a:extLst>
              <a:ext uri="{FF2B5EF4-FFF2-40B4-BE49-F238E27FC236}">
                <a16:creationId xmlns:a16="http://schemas.microsoft.com/office/drawing/2014/main" id="{66038B6C-AD40-09D6-B303-B619550392A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33" b="933"/>
          <a:stretch/>
        </p:blipFill>
        <p:spPr>
          <a:xfrm>
            <a:off x="755576" y="1439036"/>
            <a:ext cx="3626473" cy="4870283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sp>
        <p:nvSpPr>
          <p:cNvPr id="4" name="ZoneTexte 4">
            <a:extLst>
              <a:ext uri="{FF2B5EF4-FFF2-40B4-BE49-F238E27FC236}">
                <a16:creationId xmlns:a16="http://schemas.microsoft.com/office/drawing/2014/main" id="{2847F445-0034-73EA-7EC6-54999794235D}"/>
              </a:ext>
            </a:extLst>
          </p:cNvPr>
          <p:cNvSpPr txBox="1"/>
          <p:nvPr/>
        </p:nvSpPr>
        <p:spPr>
          <a:xfrm>
            <a:off x="474691" y="572745"/>
            <a:ext cx="798574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 rtl="1"/>
            <a:r>
              <a:rPr lang="ar-MA" b="1" dirty="0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انتبهوا جيدا</a:t>
            </a:r>
            <a:r>
              <a:rPr lang="fr-FR" b="1" dirty="0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! </a:t>
            </a:r>
            <a:r>
              <a:rPr lang="ar-MA" b="1" dirty="0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في المنزل، ستنجزون كل الأنشطة المتبقية على الصفحتين: 16 و17.</a:t>
            </a:r>
            <a:endParaRPr lang="fr-MA" b="1" dirty="0">
              <a:solidFill>
                <a:schemeClr val="bg1">
                  <a:lumMod val="65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6546530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2">
            <a:extLst>
              <a:ext uri="{FF2B5EF4-FFF2-40B4-BE49-F238E27FC236}">
                <a16:creationId xmlns:a16="http://schemas.microsoft.com/office/drawing/2014/main" id="{3E48B176-737A-9792-E08B-7DC87159D4FE}"/>
              </a:ext>
            </a:extLst>
          </p:cNvPr>
          <p:cNvSpPr/>
          <p:nvPr/>
        </p:nvSpPr>
        <p:spPr>
          <a:xfrm>
            <a:off x="0" y="0"/>
            <a:ext cx="9144000" cy="6858000"/>
          </a:xfrm>
          <a:custGeom>
            <a:avLst/>
            <a:gdLst/>
            <a:ahLst/>
            <a:cxnLst/>
            <a:rect l="l" t="t" r="r" b="b"/>
            <a:pathLst>
              <a:path w="18288000" h="10287000">
                <a:moveTo>
                  <a:pt x="0" y="0"/>
                </a:moveTo>
                <a:lnTo>
                  <a:pt x="18288000" y="0"/>
                </a:lnTo>
                <a:lnTo>
                  <a:pt x="18288000" y="10287000"/>
                </a:lnTo>
                <a:lnTo>
                  <a:pt x="0" y="10287000"/>
                </a:lnTo>
                <a:lnTo>
                  <a:pt x="0" y="0"/>
                </a:lnTo>
                <a:close/>
              </a:path>
            </a:pathLst>
          </a:custGeom>
          <a:blipFill>
            <a:blip r:embed="rId2"/>
            <a:stretch>
              <a:fillRect t="-5555" b="-5555"/>
            </a:stretch>
          </a:blipFill>
        </p:spPr>
        <p:txBody>
          <a:bodyPr/>
          <a:lstStyle/>
          <a:p>
            <a:pPr defTabSz="609630">
              <a:defRPr/>
            </a:pPr>
            <a:endParaRPr lang="fr-MA" sz="900">
              <a:solidFill>
                <a:prstClr val="black"/>
              </a:solidFill>
              <a:latin typeface="Dosis" pitchFamily="2" charset="0"/>
            </a:endParaRPr>
          </a:p>
        </p:txBody>
      </p:sp>
      <p:sp>
        <p:nvSpPr>
          <p:cNvPr id="4" name="Ellipse 62">
            <a:extLst>
              <a:ext uri="{FF2B5EF4-FFF2-40B4-BE49-F238E27FC236}">
                <a16:creationId xmlns:a16="http://schemas.microsoft.com/office/drawing/2014/main" id="{2C006488-52ED-147E-51E9-AE6057E4CCF8}"/>
              </a:ext>
            </a:extLst>
          </p:cNvPr>
          <p:cNvSpPr/>
          <p:nvPr/>
        </p:nvSpPr>
        <p:spPr>
          <a:xfrm>
            <a:off x="1322451" y="46409"/>
            <a:ext cx="6811591" cy="6811591"/>
          </a:xfrm>
          <a:prstGeom prst="ellipse">
            <a:avLst/>
          </a:prstGeom>
          <a:solidFill>
            <a:srgbClr val="D6E9EA">
              <a:alpha val="34000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sp>
        <p:nvSpPr>
          <p:cNvPr id="6" name="TextBox 6"/>
          <p:cNvSpPr txBox="1"/>
          <p:nvPr/>
        </p:nvSpPr>
        <p:spPr>
          <a:xfrm>
            <a:off x="1005884" y="1556792"/>
            <a:ext cx="7132233" cy="705321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 defTabSz="609630">
              <a:lnSpc>
                <a:spcPts val="5486"/>
              </a:lnSpc>
              <a:defRPr/>
            </a:pPr>
            <a:r>
              <a:rPr lang="ar-MA" sz="4800" b="1" dirty="0">
                <a:solidFill>
                  <a:srgbClr val="106585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حصة اليوم</a:t>
            </a:r>
          </a:p>
        </p:txBody>
      </p:sp>
      <p:sp>
        <p:nvSpPr>
          <p:cNvPr id="9" name="Freeform 9"/>
          <p:cNvSpPr/>
          <p:nvPr/>
        </p:nvSpPr>
        <p:spPr>
          <a:xfrm>
            <a:off x="21422" y="5622104"/>
            <a:ext cx="995130" cy="1233596"/>
          </a:xfrm>
          <a:custGeom>
            <a:avLst/>
            <a:gdLst/>
            <a:ahLst/>
            <a:cxnLst/>
            <a:rect l="l" t="t" r="r" b="b"/>
            <a:pathLst>
              <a:path w="2684349" h="3327606">
                <a:moveTo>
                  <a:pt x="0" y="0"/>
                </a:moveTo>
                <a:lnTo>
                  <a:pt x="2684349" y="0"/>
                </a:lnTo>
                <a:lnTo>
                  <a:pt x="2684349" y="3327606"/>
                </a:lnTo>
                <a:lnTo>
                  <a:pt x="0" y="3327606"/>
                </a:lnTo>
                <a:lnTo>
                  <a:pt x="0" y="0"/>
                </a:lnTo>
                <a:close/>
              </a:path>
            </a:pathLst>
          </a:custGeo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 l="-157570" t="-6438" b="-44673"/>
            </a:stretch>
          </a:blipFill>
          <a:ln>
            <a:noFill/>
          </a:ln>
        </p:spPr>
        <p:txBody>
          <a:bodyPr/>
          <a:lstStyle/>
          <a:p>
            <a:pPr defTabSz="609630">
              <a:defRPr/>
            </a:pPr>
            <a:endParaRPr lang="fr-MA" sz="428">
              <a:solidFill>
                <a:prstClr val="black"/>
              </a:solidFill>
              <a:latin typeface="Dosis" pitchFamily="2" charset="0"/>
            </a:endParaRPr>
          </a:p>
        </p:txBody>
      </p:sp>
      <p:sp>
        <p:nvSpPr>
          <p:cNvPr id="10" name="Freeform 10"/>
          <p:cNvSpPr/>
          <p:nvPr/>
        </p:nvSpPr>
        <p:spPr>
          <a:xfrm>
            <a:off x="7804155" y="5463344"/>
            <a:ext cx="1318425" cy="1392356"/>
          </a:xfrm>
          <a:custGeom>
            <a:avLst/>
            <a:gdLst/>
            <a:ahLst/>
            <a:cxnLst/>
            <a:rect l="l" t="t" r="r" b="b"/>
            <a:pathLst>
              <a:path w="3556432" h="3755858">
                <a:moveTo>
                  <a:pt x="0" y="0"/>
                </a:moveTo>
                <a:lnTo>
                  <a:pt x="3556432" y="0"/>
                </a:lnTo>
                <a:lnTo>
                  <a:pt x="3556432" y="3755858"/>
                </a:lnTo>
                <a:lnTo>
                  <a:pt x="0" y="3755858"/>
                </a:lnTo>
                <a:lnTo>
                  <a:pt x="0" y="0"/>
                </a:lnTo>
                <a:close/>
              </a:path>
            </a:pathLst>
          </a:custGeo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 l="-4351" t="-332" r="-93446" b="-41558"/>
            </a:stretch>
          </a:blipFill>
        </p:spPr>
        <p:txBody>
          <a:bodyPr/>
          <a:lstStyle/>
          <a:p>
            <a:pPr defTabSz="609630">
              <a:defRPr/>
            </a:pPr>
            <a:endParaRPr lang="fr-MA" sz="428">
              <a:solidFill>
                <a:prstClr val="black"/>
              </a:solidFill>
              <a:latin typeface="Dosis" pitchFamily="2" charset="0"/>
            </a:endParaRPr>
          </a:p>
        </p:txBody>
      </p:sp>
      <p:sp>
        <p:nvSpPr>
          <p:cNvPr id="2" name="TextBox 7">
            <a:extLst>
              <a:ext uri="{FF2B5EF4-FFF2-40B4-BE49-F238E27FC236}">
                <a16:creationId xmlns:a16="http://schemas.microsoft.com/office/drawing/2014/main" id="{5D5EC3F9-B576-AAD3-32E6-690B5DFDA61D}"/>
              </a:ext>
            </a:extLst>
          </p:cNvPr>
          <p:cNvSpPr txBox="1"/>
          <p:nvPr/>
        </p:nvSpPr>
        <p:spPr>
          <a:xfrm>
            <a:off x="179513" y="2996952"/>
            <a:ext cx="8784975" cy="662361"/>
          </a:xfrm>
          <a:prstGeom prst="rect">
            <a:avLst/>
          </a:prstGeom>
          <a:ln>
            <a:noFill/>
          </a:ln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ct val="150000"/>
              </a:lnSpc>
            </a:pPr>
            <a:r>
              <a:rPr lang="ar-MA" sz="3200" b="1" dirty="0">
                <a:solidFill>
                  <a:srgbClr val="3795AF"/>
                </a:solidFill>
                <a:latin typeface="Dosis" pitchFamily="2" charset="0"/>
                <a:cs typeface="Calibri" panose="020F0502020204030204" pitchFamily="34" charset="0"/>
              </a:rPr>
              <a:t>مراجعة دروس الأسبوع الأول</a:t>
            </a:r>
          </a:p>
        </p:txBody>
      </p:sp>
    </p:spTree>
    <p:extLst>
      <p:ext uri="{BB962C8B-B14F-4D97-AF65-F5344CB8AC3E}">
        <p14:creationId xmlns:p14="http://schemas.microsoft.com/office/powerpoint/2010/main" val="3456365433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0776FFED-540A-74E8-CC1A-522314CB3F7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 2">
            <a:extLst>
              <a:ext uri="{FF2B5EF4-FFF2-40B4-BE49-F238E27FC236}">
                <a16:creationId xmlns:a16="http://schemas.microsoft.com/office/drawing/2014/main" id="{A5AE1BF7-7CB0-8F8B-C402-D74D73E95F35}"/>
              </a:ext>
            </a:extLst>
          </p:cNvPr>
          <p:cNvPicPr/>
          <p:nvPr/>
        </p:nvPicPr>
        <p:blipFill>
          <a:blip r:embed="rId4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5" name="ZoneTexte 4">
            <a:extLst>
              <a:ext uri="{FF2B5EF4-FFF2-40B4-BE49-F238E27FC236}">
                <a16:creationId xmlns:a16="http://schemas.microsoft.com/office/drawing/2014/main" id="{B7A082CD-4722-124F-25AE-26949F09544D}"/>
              </a:ext>
            </a:extLst>
          </p:cNvPr>
          <p:cNvSpPr txBox="1"/>
          <p:nvPr/>
        </p:nvSpPr>
        <p:spPr>
          <a:xfrm>
            <a:off x="304798" y="560851"/>
            <a:ext cx="824922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ar-MA" b="1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إلى اللقاء في الحصة القادمة. </a:t>
            </a:r>
          </a:p>
        </p:txBody>
      </p:sp>
      <p:pic>
        <p:nvPicPr>
          <p:cNvPr id="6" name="Image 5">
            <a:extLst>
              <a:ext uri="{FF2B5EF4-FFF2-40B4-BE49-F238E27FC236}">
                <a16:creationId xmlns:a16="http://schemas.microsoft.com/office/drawing/2014/main" id="{7F57BD76-24C5-1059-AD44-83C35D96CB5D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83768" y="2132856"/>
            <a:ext cx="3348436" cy="30963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9561270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4" name="think-cell data - do not delete" hidden="1">
            <a:extLst>
              <a:ext uri="{FF2B5EF4-FFF2-40B4-BE49-F238E27FC236}">
                <a16:creationId xmlns:a16="http://schemas.microsoft.com/office/drawing/2014/main" id="{A5913DB5-F681-AADA-AA9B-503BB3C38E7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059" y="1059"/>
          <a:ext cx="1059" cy="105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4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913DB5-F681-AADA-AA9B-503BB3C38E7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059" y="1059"/>
                        <a:ext cx="1059" cy="105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reeform 2"/>
          <p:cNvSpPr/>
          <p:nvPr/>
        </p:nvSpPr>
        <p:spPr>
          <a:xfrm>
            <a:off x="0" y="0"/>
            <a:ext cx="9144000" cy="6858000"/>
          </a:xfrm>
          <a:custGeom>
            <a:avLst/>
            <a:gdLst/>
            <a:ahLst/>
            <a:cxnLst/>
            <a:rect l="l" t="t" r="r" b="b"/>
            <a:pathLst>
              <a:path w="18288000" h="10287000">
                <a:moveTo>
                  <a:pt x="0" y="0"/>
                </a:moveTo>
                <a:lnTo>
                  <a:pt x="18288000" y="0"/>
                </a:lnTo>
                <a:lnTo>
                  <a:pt x="18288000" y="10287000"/>
                </a:lnTo>
                <a:lnTo>
                  <a:pt x="0" y="10287000"/>
                </a:lnTo>
                <a:lnTo>
                  <a:pt x="0" y="0"/>
                </a:lnTo>
                <a:close/>
              </a:path>
            </a:pathLst>
          </a:custGeom>
          <a:blipFill>
            <a:blip r:embed="rId6"/>
            <a:stretch>
              <a:fillRect t="-5555" b="-5555"/>
            </a:stretch>
          </a:blipFill>
        </p:spPr>
        <p:txBody>
          <a:bodyPr/>
          <a:lstStyle/>
          <a:p>
            <a:pPr algn="just" defTabSz="457223"/>
            <a:endParaRPr lang="fr-MA" sz="900">
              <a:solidFill>
                <a:prstClr val="black"/>
              </a:solidFill>
              <a:latin typeface="Dosis" pitchFamily="2" charset="0"/>
            </a:endParaRPr>
          </a:p>
        </p:txBody>
      </p:sp>
      <p:grpSp>
        <p:nvGrpSpPr>
          <p:cNvPr id="3" name="Group 3"/>
          <p:cNvGrpSpPr/>
          <p:nvPr/>
        </p:nvGrpSpPr>
        <p:grpSpPr>
          <a:xfrm>
            <a:off x="394223" y="767701"/>
            <a:ext cx="8636000" cy="5596244"/>
            <a:chOff x="0" y="0"/>
            <a:chExt cx="3895412" cy="2555175"/>
          </a:xfrm>
        </p:grpSpPr>
        <p:sp>
          <p:nvSpPr>
            <p:cNvPr id="4" name="Freeform 4"/>
            <p:cNvSpPr/>
            <p:nvPr/>
          </p:nvSpPr>
          <p:spPr>
            <a:xfrm>
              <a:off x="0" y="0"/>
              <a:ext cx="3895412" cy="2555175"/>
            </a:xfrm>
            <a:custGeom>
              <a:avLst/>
              <a:gdLst/>
              <a:ahLst/>
              <a:cxnLst/>
              <a:rect l="l" t="t" r="r" b="b"/>
              <a:pathLst>
                <a:path w="3895412" h="2555175">
                  <a:moveTo>
                    <a:pt x="6703" y="0"/>
                  </a:moveTo>
                  <a:lnTo>
                    <a:pt x="3888710" y="0"/>
                  </a:lnTo>
                  <a:cubicBezTo>
                    <a:pt x="3892411" y="0"/>
                    <a:pt x="3895412" y="3001"/>
                    <a:pt x="3895412" y="6703"/>
                  </a:cubicBezTo>
                  <a:lnTo>
                    <a:pt x="3895412" y="2548473"/>
                  </a:lnTo>
                  <a:cubicBezTo>
                    <a:pt x="3895412" y="2550250"/>
                    <a:pt x="3894706" y="2551955"/>
                    <a:pt x="3893449" y="2553212"/>
                  </a:cubicBezTo>
                  <a:cubicBezTo>
                    <a:pt x="3892192" y="2554469"/>
                    <a:pt x="3890487" y="2555175"/>
                    <a:pt x="3888710" y="2555175"/>
                  </a:cubicBezTo>
                  <a:lnTo>
                    <a:pt x="6703" y="2555175"/>
                  </a:lnTo>
                  <a:cubicBezTo>
                    <a:pt x="4925" y="2555175"/>
                    <a:pt x="3220" y="2554469"/>
                    <a:pt x="1963" y="2553212"/>
                  </a:cubicBezTo>
                  <a:cubicBezTo>
                    <a:pt x="706" y="2551955"/>
                    <a:pt x="0" y="2550250"/>
                    <a:pt x="0" y="2548473"/>
                  </a:cubicBezTo>
                  <a:lnTo>
                    <a:pt x="0" y="6703"/>
                  </a:lnTo>
                  <a:cubicBezTo>
                    <a:pt x="0" y="4925"/>
                    <a:pt x="706" y="3220"/>
                    <a:pt x="1963" y="1963"/>
                  </a:cubicBezTo>
                  <a:cubicBezTo>
                    <a:pt x="3220" y="706"/>
                    <a:pt x="4925" y="0"/>
                    <a:pt x="6703" y="0"/>
                  </a:cubicBezTo>
                  <a:close/>
                </a:path>
              </a:pathLst>
            </a:custGeom>
            <a:solidFill>
              <a:srgbClr val="FFFFFF"/>
            </a:solidFill>
            <a:ln w="19050">
              <a:solidFill>
                <a:srgbClr val="000000"/>
              </a:solidFill>
            </a:ln>
          </p:spPr>
          <p:txBody>
            <a:bodyPr/>
            <a:lstStyle/>
            <a:p>
              <a:pPr algn="just" defTabSz="457223"/>
              <a:endParaRPr lang="fr-MA" sz="900">
                <a:solidFill>
                  <a:srgbClr val="106585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5" name="TextBox 5"/>
            <p:cNvSpPr txBox="1"/>
            <p:nvPr/>
          </p:nvSpPr>
          <p:spPr>
            <a:xfrm>
              <a:off x="0" y="-47625"/>
              <a:ext cx="812800" cy="860425"/>
            </a:xfrm>
            <a:prstGeom prst="rect">
              <a:avLst/>
            </a:prstGeom>
          </p:spPr>
          <p:txBody>
            <a:bodyPr lIns="25400" tIns="25400" rIns="25400" bIns="25400" rtlCol="0" anchor="ctr"/>
            <a:lstStyle/>
            <a:p>
              <a:pPr algn="just" defTabSz="457223">
                <a:lnSpc>
                  <a:spcPts val="1605"/>
                </a:lnSpc>
              </a:pPr>
              <a:endParaRPr sz="900">
                <a:solidFill>
                  <a:srgbClr val="106585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sp>
        <p:nvSpPr>
          <p:cNvPr id="7" name="Freeform 7"/>
          <p:cNvSpPr/>
          <p:nvPr/>
        </p:nvSpPr>
        <p:spPr>
          <a:xfrm>
            <a:off x="8077201" y="294200"/>
            <a:ext cx="619583" cy="594800"/>
          </a:xfrm>
          <a:custGeom>
            <a:avLst/>
            <a:gdLst/>
            <a:ahLst/>
            <a:cxnLst/>
            <a:rect l="l" t="t" r="r" b="b"/>
            <a:pathLst>
              <a:path w="1239167" h="1189600">
                <a:moveTo>
                  <a:pt x="0" y="0"/>
                </a:moveTo>
                <a:lnTo>
                  <a:pt x="1239167" y="0"/>
                </a:lnTo>
                <a:lnTo>
                  <a:pt x="1239167" y="1189600"/>
                </a:lnTo>
                <a:lnTo>
                  <a:pt x="0" y="1189600"/>
                </a:lnTo>
                <a:lnTo>
                  <a:pt x="0" y="0"/>
                </a:lnTo>
                <a:close/>
              </a:path>
            </a:pathLst>
          </a:custGeom>
          <a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algn="just" defTabSz="457223"/>
            <a:endParaRPr lang="fr-MA" sz="900">
              <a:solidFill>
                <a:prstClr val="black"/>
              </a:solidFill>
              <a:latin typeface="Dosis" pitchFamily="2" charset="0"/>
            </a:endParaRPr>
          </a:p>
        </p:txBody>
      </p:sp>
      <p:sp>
        <p:nvSpPr>
          <p:cNvPr id="45" name="ZoneTexte 5">
            <a:extLst>
              <a:ext uri="{FF2B5EF4-FFF2-40B4-BE49-F238E27FC236}">
                <a16:creationId xmlns:a16="http://schemas.microsoft.com/office/drawing/2014/main" id="{ABA2A6A3-1EDB-77CA-044F-205840F96C09}"/>
              </a:ext>
            </a:extLst>
          </p:cNvPr>
          <p:cNvSpPr txBox="1"/>
          <p:nvPr/>
        </p:nvSpPr>
        <p:spPr>
          <a:xfrm>
            <a:off x="-76199" y="365553"/>
            <a:ext cx="175259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ar-MA" sz="1600" i="1">
                <a:solidFill>
                  <a:schemeClr val="tx1">
                    <a:lumMod val="50000"/>
                    <a:lumOff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خاص بالأستاذ</a:t>
            </a:r>
            <a:endParaRPr lang="fr-MA" sz="1600" i="1">
              <a:solidFill>
                <a:schemeClr val="tx1">
                  <a:lumMod val="50000"/>
                  <a:lumOff val="50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C6F83E8F-A2D4-86F5-970B-0187137D8890}"/>
              </a:ext>
            </a:extLst>
          </p:cNvPr>
          <p:cNvSpPr txBox="1"/>
          <p:nvPr/>
        </p:nvSpPr>
        <p:spPr>
          <a:xfrm>
            <a:off x="1489665" y="1365589"/>
            <a:ext cx="6164669" cy="40722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ts val="2075"/>
              </a:lnSpc>
            </a:pPr>
            <a:r>
              <a:rPr lang="ar-MA" sz="3334" b="1" kern="0">
                <a:solidFill>
                  <a:srgbClr val="106585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مراحل الحصة</a:t>
            </a:r>
          </a:p>
        </p:txBody>
      </p:sp>
      <p:sp>
        <p:nvSpPr>
          <p:cNvPr id="55" name="Flowchart: Alternate Process 54">
            <a:extLst>
              <a:ext uri="{FF2B5EF4-FFF2-40B4-BE49-F238E27FC236}">
                <a16:creationId xmlns:a16="http://schemas.microsoft.com/office/drawing/2014/main" id="{794675B7-0983-E62A-CE83-0D53902CBAF5}"/>
              </a:ext>
            </a:extLst>
          </p:cNvPr>
          <p:cNvSpPr/>
          <p:nvPr/>
        </p:nvSpPr>
        <p:spPr>
          <a:xfrm>
            <a:off x="942774" y="2044679"/>
            <a:ext cx="6624649" cy="676858"/>
          </a:xfrm>
          <a:prstGeom prst="flowChartAlternateProcess">
            <a:avLst/>
          </a:prstGeom>
          <a:solidFill>
            <a:srgbClr val="F2F2F2"/>
          </a:solidFill>
          <a:ln>
            <a:solidFill>
              <a:schemeClr val="l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 defTabSz="685834" rtl="1">
              <a:defRPr/>
            </a:pPr>
            <a:r>
              <a:rPr lang="ar-MA" sz="2400" b="1" dirty="0">
                <a:solidFill>
                  <a:srgbClr val="106585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افتتاح </a:t>
            </a:r>
            <a:r>
              <a:rPr lang="en-GB" sz="2400" b="1" dirty="0">
                <a:solidFill>
                  <a:srgbClr val="106585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ar-MA" sz="2400" b="1" kern="0" dirty="0">
                <a:solidFill>
                  <a:srgbClr val="106585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الحصة</a:t>
            </a:r>
            <a:endParaRPr lang="en-US" sz="2000" b="1" dirty="0">
              <a:solidFill>
                <a:srgbClr val="01070A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81" name="Oval 80">
            <a:extLst>
              <a:ext uri="{FF2B5EF4-FFF2-40B4-BE49-F238E27FC236}">
                <a16:creationId xmlns:a16="http://schemas.microsoft.com/office/drawing/2014/main" id="{2FBB3B0C-23A8-D891-890D-6C357D009A48}"/>
              </a:ext>
            </a:extLst>
          </p:cNvPr>
          <p:cNvSpPr>
            <a:spLocks noChangeAspect="1"/>
          </p:cNvSpPr>
          <p:nvPr/>
        </p:nvSpPr>
        <p:spPr>
          <a:xfrm>
            <a:off x="7822339" y="2185454"/>
            <a:ext cx="395307" cy="395307"/>
          </a:xfrm>
          <a:prstGeom prst="ellipse">
            <a:avLst/>
          </a:prstGeom>
          <a:solidFill>
            <a:srgbClr val="10658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fr-MA" sz="2133" b="1"/>
              <a:t>1</a:t>
            </a:r>
          </a:p>
        </p:txBody>
      </p:sp>
      <p:sp>
        <p:nvSpPr>
          <p:cNvPr id="83" name="Oval 82">
            <a:extLst>
              <a:ext uri="{FF2B5EF4-FFF2-40B4-BE49-F238E27FC236}">
                <a16:creationId xmlns:a16="http://schemas.microsoft.com/office/drawing/2014/main" id="{CB1128EE-BBC6-B3AE-BD21-A80CB5767686}"/>
              </a:ext>
            </a:extLst>
          </p:cNvPr>
          <p:cNvSpPr>
            <a:spLocks noChangeAspect="1"/>
          </p:cNvSpPr>
          <p:nvPr/>
        </p:nvSpPr>
        <p:spPr>
          <a:xfrm>
            <a:off x="7822339" y="3774550"/>
            <a:ext cx="395307" cy="395307"/>
          </a:xfrm>
          <a:prstGeom prst="ellipse">
            <a:avLst/>
          </a:prstGeom>
          <a:solidFill>
            <a:srgbClr val="10658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fr-MA" sz="2133" b="1"/>
              <a:t>3</a:t>
            </a:r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A4942DF5-7E1C-77B7-B92E-FF94A01BA5F8}"/>
              </a:ext>
            </a:extLst>
          </p:cNvPr>
          <p:cNvSpPr/>
          <p:nvPr/>
        </p:nvSpPr>
        <p:spPr>
          <a:xfrm>
            <a:off x="942774" y="3753423"/>
            <a:ext cx="6624649" cy="538808"/>
          </a:xfrm>
          <a:prstGeom prst="roundRect">
            <a:avLst/>
          </a:prstGeom>
          <a:solidFill>
            <a:srgbClr val="F2F2F2"/>
          </a:solidFill>
          <a:ln>
            <a:solidFill>
              <a:schemeClr val="l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 defTabSz="457223" rtl="1"/>
            <a:r>
              <a:rPr lang="ar-MA" sz="2400" b="1" dirty="0">
                <a:solidFill>
                  <a:srgbClr val="106585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أنشطة المراجعة</a:t>
            </a:r>
            <a:endParaRPr lang="en-GB" sz="1600" b="1" dirty="0">
              <a:solidFill>
                <a:sysClr val="windowText" lastClr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079275E6-91BD-A54F-27CE-284F2B58AB0A}"/>
              </a:ext>
            </a:extLst>
          </p:cNvPr>
          <p:cNvSpPr/>
          <p:nvPr/>
        </p:nvSpPr>
        <p:spPr>
          <a:xfrm>
            <a:off x="942774" y="5266456"/>
            <a:ext cx="6624649" cy="538808"/>
          </a:xfrm>
          <a:prstGeom prst="roundRect">
            <a:avLst/>
          </a:prstGeom>
          <a:solidFill>
            <a:srgbClr val="F2F2F2"/>
          </a:solidFill>
          <a:ln>
            <a:solidFill>
              <a:schemeClr val="l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 defTabSz="457223" rtl="1"/>
            <a:r>
              <a:rPr lang="ar-MA" sz="2400" b="1">
                <a:solidFill>
                  <a:srgbClr val="106585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اختتام الحصة</a:t>
            </a:r>
            <a:endParaRPr lang="en-GB" sz="1600" b="1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4580D002-A49D-75B9-6715-FA7D5D442058}"/>
              </a:ext>
            </a:extLst>
          </p:cNvPr>
          <p:cNvSpPr>
            <a:spLocks noChangeAspect="1"/>
          </p:cNvSpPr>
          <p:nvPr/>
        </p:nvSpPr>
        <p:spPr>
          <a:xfrm>
            <a:off x="7822339" y="5363646"/>
            <a:ext cx="395307" cy="395307"/>
          </a:xfrm>
          <a:prstGeom prst="ellipse">
            <a:avLst/>
          </a:prstGeom>
          <a:solidFill>
            <a:srgbClr val="10658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ar-MA" sz="2133" b="1"/>
              <a:t>5</a:t>
            </a:r>
            <a:endParaRPr lang="fr-MA" sz="2133" b="1"/>
          </a:p>
        </p:txBody>
      </p:sp>
      <p:pic>
        <p:nvPicPr>
          <p:cNvPr id="16" name="Picture 65" descr="A blue stopwatch on a black background&#10;&#10;Description automatically generated">
            <a:extLst>
              <a:ext uri="{FF2B5EF4-FFF2-40B4-BE49-F238E27FC236}">
                <a16:creationId xmlns:a16="http://schemas.microsoft.com/office/drawing/2014/main" id="{7A853738-C672-50F8-5AD8-5EB08FA262B7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599" y="3329716"/>
            <a:ext cx="1260978" cy="1248796"/>
          </a:xfrm>
          <a:prstGeom prst="rect">
            <a:avLst/>
          </a:prstGeom>
        </p:spPr>
      </p:pic>
      <p:graphicFrame>
        <p:nvGraphicFramePr>
          <p:cNvPr id="6" name="think-cell data - do not delete">
            <a:extLst>
              <a:ext uri="{FF2B5EF4-FFF2-40B4-BE49-F238E27FC236}">
                <a16:creationId xmlns:a16="http://schemas.microsoft.com/office/drawing/2014/main" id="{09EE0638-98C0-62FD-E164-56A146DDC78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32607661"/>
              </p:ext>
            </p:extLst>
          </p:nvPr>
        </p:nvGraphicFramePr>
        <p:xfrm>
          <a:off x="1059" y="1059"/>
          <a:ext cx="1059" cy="105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395" imgH="394" progId="TCLayout.ActiveDocument.1">
                  <p:embed/>
                </p:oleObj>
              </mc:Choice>
              <mc:Fallback>
                <p:oleObj name="think-cell Slide" r:id="rId10" imgW="395" imgH="394" progId="TCLayout.ActiveDocument.1">
                  <p:embed/>
                  <p:pic>
                    <p:nvPicPr>
                      <p:cNvPr id="6" name="think-cell data - do not delete">
                        <a:extLst>
                          <a:ext uri="{FF2B5EF4-FFF2-40B4-BE49-F238E27FC236}">
                            <a16:creationId xmlns:a16="http://schemas.microsoft.com/office/drawing/2014/main" id="{09EE0638-98C0-62FD-E164-56A146DDC78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059" y="1059"/>
                        <a:ext cx="1059" cy="105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65" descr="A blue stopwatch on a black background&#10;&#10;Description automatically generated">
            <a:extLst>
              <a:ext uri="{FF2B5EF4-FFF2-40B4-BE49-F238E27FC236}">
                <a16:creationId xmlns:a16="http://schemas.microsoft.com/office/drawing/2014/main" id="{8B756E45-CD39-3D74-08FC-4FE5B27CB00C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599" y="1596010"/>
            <a:ext cx="1260978" cy="1248796"/>
          </a:xfrm>
          <a:prstGeom prst="rect">
            <a:avLst/>
          </a:prstGeom>
        </p:spPr>
      </p:pic>
      <p:pic>
        <p:nvPicPr>
          <p:cNvPr id="22" name="Picture 65" descr="A blue stopwatch on a black background&#10;&#10;Description automatically generated">
            <a:extLst>
              <a:ext uri="{FF2B5EF4-FFF2-40B4-BE49-F238E27FC236}">
                <a16:creationId xmlns:a16="http://schemas.microsoft.com/office/drawing/2014/main" id="{39A0D91B-49AA-FE38-8017-6AFDD4FF8DE1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369" y="4891800"/>
            <a:ext cx="1260978" cy="1248796"/>
          </a:xfrm>
          <a:prstGeom prst="rect">
            <a:avLst/>
          </a:prstGeom>
        </p:spPr>
      </p:pic>
      <p:sp>
        <p:nvSpPr>
          <p:cNvPr id="19" name="Rectangle 18">
            <a:extLst>
              <a:ext uri="{FF2B5EF4-FFF2-40B4-BE49-F238E27FC236}">
                <a16:creationId xmlns:a16="http://schemas.microsoft.com/office/drawing/2014/main" id="{9FE47017-CF62-AAAB-DF46-0BC241C45D79}"/>
              </a:ext>
            </a:extLst>
          </p:cNvPr>
          <p:cNvSpPr/>
          <p:nvPr/>
        </p:nvSpPr>
        <p:spPr>
          <a:xfrm>
            <a:off x="148418" y="5761882"/>
            <a:ext cx="1130904" cy="25928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ar-MA" sz="14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5 دقائق</a:t>
            </a:r>
            <a:endParaRPr lang="en-US" sz="14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4AF662B8-77F3-6D4F-B3AB-8BDC7477F64A}"/>
              </a:ext>
            </a:extLst>
          </p:cNvPr>
          <p:cNvSpPr/>
          <p:nvPr/>
        </p:nvSpPr>
        <p:spPr>
          <a:xfrm>
            <a:off x="137648" y="4199798"/>
            <a:ext cx="1130904" cy="25928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ar-MA" sz="14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40 دقائق</a:t>
            </a:r>
            <a:endParaRPr lang="en-US" sz="14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45512E85-08B4-5DDF-9966-C4BF3F3A17DA}"/>
              </a:ext>
            </a:extLst>
          </p:cNvPr>
          <p:cNvSpPr/>
          <p:nvPr/>
        </p:nvSpPr>
        <p:spPr>
          <a:xfrm>
            <a:off x="137648" y="2466092"/>
            <a:ext cx="1130904" cy="25928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ar-MA" sz="14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0 دقائق</a:t>
            </a:r>
            <a:endParaRPr lang="en-US" sz="14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grpSp>
        <p:nvGrpSpPr>
          <p:cNvPr id="10" name="Groupe 9">
            <a:extLst>
              <a:ext uri="{FF2B5EF4-FFF2-40B4-BE49-F238E27FC236}">
                <a16:creationId xmlns:a16="http://schemas.microsoft.com/office/drawing/2014/main" id="{165C5DEB-E17C-B359-73D9-474BBF23237D}"/>
              </a:ext>
            </a:extLst>
          </p:cNvPr>
          <p:cNvGrpSpPr/>
          <p:nvPr/>
        </p:nvGrpSpPr>
        <p:grpSpPr>
          <a:xfrm>
            <a:off x="1383775" y="807471"/>
            <a:ext cx="1260977" cy="1173794"/>
            <a:chOff x="1383775" y="807471"/>
            <a:chExt cx="1260977" cy="1173794"/>
          </a:xfrm>
        </p:grpSpPr>
        <p:grpSp>
          <p:nvGrpSpPr>
            <p:cNvPr id="25" name="Groupe 74">
              <a:extLst>
                <a:ext uri="{FF2B5EF4-FFF2-40B4-BE49-F238E27FC236}">
                  <a16:creationId xmlns:a16="http://schemas.microsoft.com/office/drawing/2014/main" id="{F1E74961-98F6-56E1-DA9B-F2149B514DF8}"/>
                </a:ext>
              </a:extLst>
            </p:cNvPr>
            <p:cNvGrpSpPr/>
            <p:nvPr/>
          </p:nvGrpSpPr>
          <p:grpSpPr>
            <a:xfrm flipH="1">
              <a:off x="1383775" y="807471"/>
              <a:ext cx="1260977" cy="1173794"/>
              <a:chOff x="104413" y="285342"/>
              <a:chExt cx="2111436" cy="2053595"/>
            </a:xfrm>
          </p:grpSpPr>
          <p:sp>
            <p:nvSpPr>
              <p:cNvPr id="77" name="ZoneTexte 73">
                <a:extLst>
                  <a:ext uri="{FF2B5EF4-FFF2-40B4-BE49-F238E27FC236}">
                    <a16:creationId xmlns:a16="http://schemas.microsoft.com/office/drawing/2014/main" id="{55DE5BC6-BCFB-DE19-F9AF-9BCDC0AB29B7}"/>
                  </a:ext>
                </a:extLst>
              </p:cNvPr>
              <p:cNvSpPr txBox="1"/>
              <p:nvPr/>
            </p:nvSpPr>
            <p:spPr>
              <a:xfrm rot="19636752">
                <a:off x="104413" y="536954"/>
                <a:ext cx="2052844" cy="144422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 rtl="1"/>
                <a:r>
                  <a:rPr lang="ar-MA" sz="2800" dirty="0">
                    <a:solidFill>
                      <a:schemeClr val="bg1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latin typeface="A Massir Ballpoint" panose="00000100000000000000" pitchFamily="2" charset="-78"/>
                    <a:cs typeface="Boahmed Alhour" pitchFamily="2" charset="-78"/>
                  </a:rPr>
                  <a:t>المقاعد</a:t>
                </a:r>
              </a:p>
              <a:p>
                <a:pPr algn="ctr" rtl="1"/>
                <a:r>
                  <a:rPr lang="ar-MA" sz="2800" dirty="0">
                    <a:solidFill>
                      <a:schemeClr val="bg1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latin typeface="A Massir Ballpoint" panose="00000100000000000000" pitchFamily="2" charset="-78"/>
                    <a:cs typeface="Boahmed Alhour" pitchFamily="2" charset="-78"/>
                  </a:rPr>
                  <a:t>محدودة</a:t>
                </a:r>
                <a:endParaRPr lang="ar-MA" sz="2000" dirty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A Massir Ballpoint" panose="00000100000000000000" pitchFamily="2" charset="-78"/>
                  <a:cs typeface="Boahmed Alhour" pitchFamily="2" charset="-78"/>
                </a:endParaRPr>
              </a:p>
            </p:txBody>
          </p:sp>
          <p:grpSp>
            <p:nvGrpSpPr>
              <p:cNvPr id="78" name="Graphique 72">
                <a:extLst>
                  <a:ext uri="{FF2B5EF4-FFF2-40B4-BE49-F238E27FC236}">
                    <a16:creationId xmlns:a16="http://schemas.microsoft.com/office/drawing/2014/main" id="{5292C18D-D155-25D0-FBA4-8FE0728799EC}"/>
                  </a:ext>
                </a:extLst>
              </p:cNvPr>
              <p:cNvGrpSpPr/>
              <p:nvPr/>
            </p:nvGrpSpPr>
            <p:grpSpPr>
              <a:xfrm>
                <a:off x="157532" y="285342"/>
                <a:ext cx="2058317" cy="2053595"/>
                <a:chOff x="157532" y="285342"/>
                <a:chExt cx="2058317" cy="2053595"/>
              </a:xfrm>
            </p:grpSpPr>
            <p:sp>
              <p:nvSpPr>
                <p:cNvPr id="79" name="Forme libre : forme 76">
                  <a:extLst>
                    <a:ext uri="{FF2B5EF4-FFF2-40B4-BE49-F238E27FC236}">
                      <a16:creationId xmlns:a16="http://schemas.microsoft.com/office/drawing/2014/main" id="{1CDF386D-4804-3125-5826-C435EE0B62FD}"/>
                    </a:ext>
                  </a:extLst>
                </p:cNvPr>
                <p:cNvSpPr/>
                <p:nvPr/>
              </p:nvSpPr>
              <p:spPr>
                <a:xfrm>
                  <a:off x="157532" y="285342"/>
                  <a:ext cx="2058317" cy="2053595"/>
                </a:xfrm>
                <a:custGeom>
                  <a:avLst/>
                  <a:gdLst>
                    <a:gd name="connsiteX0" fmla="*/ 1980901 w 2058317"/>
                    <a:gd name="connsiteY0" fmla="*/ 1385151 h 2053595"/>
                    <a:gd name="connsiteX1" fmla="*/ 2008670 w 2058317"/>
                    <a:gd name="connsiteY1" fmla="*/ 1343789 h 2053595"/>
                    <a:gd name="connsiteX2" fmla="*/ 2009059 w 2058317"/>
                    <a:gd name="connsiteY2" fmla="*/ 1343401 h 2053595"/>
                    <a:gd name="connsiteX3" fmla="*/ 2057217 w 2058317"/>
                    <a:gd name="connsiteY3" fmla="*/ 980854 h 2053595"/>
                    <a:gd name="connsiteX4" fmla="*/ 1070165 w 2058317"/>
                    <a:gd name="connsiteY4" fmla="*/ 792 h 2053595"/>
                    <a:gd name="connsiteX5" fmla="*/ 0 w 2058317"/>
                    <a:gd name="connsiteY5" fmla="*/ 1029206 h 2053595"/>
                    <a:gd name="connsiteX6" fmla="*/ 925301 w 2058317"/>
                    <a:gd name="connsiteY6" fmla="*/ 2052960 h 2053595"/>
                    <a:gd name="connsiteX7" fmla="*/ 1003170 w 2058317"/>
                    <a:gd name="connsiteY7" fmla="*/ 2035289 h 2053595"/>
                    <a:gd name="connsiteX8" fmla="*/ 1980707 w 2058317"/>
                    <a:gd name="connsiteY8" fmla="*/ 1385928 h 2053595"/>
                    <a:gd name="connsiteX9" fmla="*/ 1980901 w 2058317"/>
                    <a:gd name="connsiteY9" fmla="*/ 1385151 h 205359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2058317" h="2053595">
                      <a:moveTo>
                        <a:pt x="1980901" y="1385151"/>
                      </a:moveTo>
                      <a:cubicBezTo>
                        <a:pt x="1991388" y="1372140"/>
                        <a:pt x="1997019" y="1356023"/>
                        <a:pt x="2008670" y="1343789"/>
                      </a:cubicBezTo>
                      <a:cubicBezTo>
                        <a:pt x="2008864" y="1343595"/>
                        <a:pt x="2009059" y="1343595"/>
                        <a:pt x="2009059" y="1343401"/>
                      </a:cubicBezTo>
                      <a:cubicBezTo>
                        <a:pt x="2045566" y="1229801"/>
                        <a:pt x="2063043" y="1107852"/>
                        <a:pt x="2057217" y="980854"/>
                      </a:cubicBezTo>
                      <a:cubicBezTo>
                        <a:pt x="2032944" y="450529"/>
                        <a:pt x="1600489" y="21376"/>
                        <a:pt x="1070165" y="792"/>
                      </a:cubicBezTo>
                      <a:cubicBezTo>
                        <a:pt x="483137" y="-21928"/>
                        <a:pt x="0" y="447228"/>
                        <a:pt x="0" y="1029206"/>
                      </a:cubicBezTo>
                      <a:cubicBezTo>
                        <a:pt x="0" y="1562444"/>
                        <a:pt x="405657" y="2000918"/>
                        <a:pt x="925301" y="2052960"/>
                      </a:cubicBezTo>
                      <a:cubicBezTo>
                        <a:pt x="952487" y="2055679"/>
                        <a:pt x="979868" y="2049659"/>
                        <a:pt x="1003170" y="2035289"/>
                      </a:cubicBezTo>
                      <a:cubicBezTo>
                        <a:pt x="1171142" y="1931593"/>
                        <a:pt x="1853709" y="1481273"/>
                        <a:pt x="1980707" y="1385928"/>
                      </a:cubicBezTo>
                      <a:cubicBezTo>
                        <a:pt x="1980707" y="1385733"/>
                        <a:pt x="1980707" y="1385345"/>
                        <a:pt x="1980901" y="1385151"/>
                      </a:cubicBezTo>
                      <a:close/>
                    </a:path>
                  </a:pathLst>
                </a:custGeom>
                <a:gradFill>
                  <a:gsLst>
                    <a:gs pos="50000">
                      <a:srgbClr val="38A4B4"/>
                    </a:gs>
                    <a:gs pos="0">
                      <a:srgbClr val="70B1B6"/>
                    </a:gs>
                    <a:gs pos="100000">
                      <a:srgbClr val="0097B2"/>
                    </a:gs>
                  </a:gsLst>
                  <a:lin ang="5400000" scaled="1"/>
                </a:gradFill>
                <a:ln w="13658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fr-FR" dirty="0"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</a:endParaRPr>
                </a:p>
              </p:txBody>
            </p:sp>
            <p:sp>
              <p:nvSpPr>
                <p:cNvPr id="80" name="Forme libre : forme 77">
                  <a:extLst>
                    <a:ext uri="{FF2B5EF4-FFF2-40B4-BE49-F238E27FC236}">
                      <a16:creationId xmlns:a16="http://schemas.microsoft.com/office/drawing/2014/main" id="{DC6D587B-A6B0-065C-204C-F0CCED687C8C}"/>
                    </a:ext>
                  </a:extLst>
                </p:cNvPr>
                <p:cNvSpPr/>
                <p:nvPr/>
              </p:nvSpPr>
              <p:spPr>
                <a:xfrm>
                  <a:off x="930202" y="1608353"/>
                  <a:ext cx="1239495" cy="722809"/>
                </a:xfrm>
                <a:custGeom>
                  <a:avLst/>
                  <a:gdLst>
                    <a:gd name="connsiteX0" fmla="*/ 1239496 w 1239495"/>
                    <a:gd name="connsiteY0" fmla="*/ 0 h 722809"/>
                    <a:gd name="connsiteX1" fmla="*/ 1149587 w 1239495"/>
                    <a:gd name="connsiteY1" fmla="*/ 36313 h 722809"/>
                    <a:gd name="connsiteX2" fmla="*/ 1039871 w 1239495"/>
                    <a:gd name="connsiteY2" fmla="*/ 41168 h 722809"/>
                    <a:gd name="connsiteX3" fmla="*/ 822382 w 1239495"/>
                    <a:gd name="connsiteY3" fmla="*/ 88549 h 722809"/>
                    <a:gd name="connsiteX4" fmla="*/ 624894 w 1239495"/>
                    <a:gd name="connsiteY4" fmla="*/ 179235 h 722809"/>
                    <a:gd name="connsiteX5" fmla="*/ 452456 w 1239495"/>
                    <a:gd name="connsiteY5" fmla="*/ 307786 h 722809"/>
                    <a:gd name="connsiteX6" fmla="*/ 310505 w 1239495"/>
                    <a:gd name="connsiteY6" fmla="*/ 468961 h 722809"/>
                    <a:gd name="connsiteX7" fmla="*/ 218849 w 1239495"/>
                    <a:gd name="connsiteY7" fmla="*/ 625671 h 722809"/>
                    <a:gd name="connsiteX8" fmla="*/ 166612 w 1239495"/>
                    <a:gd name="connsiteY8" fmla="*/ 677130 h 722809"/>
                    <a:gd name="connsiteX9" fmla="*/ 0 w 1239495"/>
                    <a:gd name="connsiteY9" fmla="*/ 692471 h 722809"/>
                    <a:gd name="connsiteX10" fmla="*/ 179429 w 1239495"/>
                    <a:gd name="connsiteY10" fmla="*/ 721599 h 722809"/>
                    <a:gd name="connsiteX11" fmla="*/ 788982 w 1239495"/>
                    <a:gd name="connsiteY11" fmla="*/ 407598 h 722809"/>
                    <a:gd name="connsiteX12" fmla="*/ 1166093 w 1239495"/>
                    <a:gd name="connsiteY12" fmla="*/ 99424 h 722809"/>
                    <a:gd name="connsiteX13" fmla="*/ 1199687 w 1239495"/>
                    <a:gd name="connsiteY13" fmla="*/ 66218 h 722809"/>
                    <a:gd name="connsiteX14" fmla="*/ 1239496 w 1239495"/>
                    <a:gd name="connsiteY14" fmla="*/ 0 h 72280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</a:cxnLst>
                  <a:rect l="l" t="t" r="r" b="b"/>
                  <a:pathLst>
                    <a:path w="1239495" h="722809">
                      <a:moveTo>
                        <a:pt x="1239496" y="0"/>
                      </a:moveTo>
                      <a:cubicBezTo>
                        <a:pt x="1220077" y="32818"/>
                        <a:pt x="1182016" y="36895"/>
                        <a:pt x="1149587" y="36313"/>
                      </a:cubicBezTo>
                      <a:cubicBezTo>
                        <a:pt x="1112886" y="35730"/>
                        <a:pt x="1076379" y="37284"/>
                        <a:pt x="1039871" y="41168"/>
                      </a:cubicBezTo>
                      <a:cubicBezTo>
                        <a:pt x="965886" y="48935"/>
                        <a:pt x="892872" y="64858"/>
                        <a:pt x="822382" y="88549"/>
                      </a:cubicBezTo>
                      <a:cubicBezTo>
                        <a:pt x="753640" y="111658"/>
                        <a:pt x="687228" y="142145"/>
                        <a:pt x="624894" y="179235"/>
                      </a:cubicBezTo>
                      <a:cubicBezTo>
                        <a:pt x="563142" y="215936"/>
                        <a:pt x="505274" y="259045"/>
                        <a:pt x="452456" y="307786"/>
                      </a:cubicBezTo>
                      <a:cubicBezTo>
                        <a:pt x="399831" y="356333"/>
                        <a:pt x="352061" y="410511"/>
                        <a:pt x="310505" y="468961"/>
                      </a:cubicBezTo>
                      <a:cubicBezTo>
                        <a:pt x="275357" y="518285"/>
                        <a:pt x="244676" y="570910"/>
                        <a:pt x="218849" y="625671"/>
                      </a:cubicBezTo>
                      <a:cubicBezTo>
                        <a:pt x="210693" y="642759"/>
                        <a:pt x="186031" y="665867"/>
                        <a:pt x="166612" y="677130"/>
                      </a:cubicBezTo>
                      <a:cubicBezTo>
                        <a:pt x="84471" y="724900"/>
                        <a:pt x="41168" y="698879"/>
                        <a:pt x="0" y="692471"/>
                      </a:cubicBezTo>
                      <a:cubicBezTo>
                        <a:pt x="108745" y="731891"/>
                        <a:pt x="179429" y="721599"/>
                        <a:pt x="179429" y="721599"/>
                      </a:cubicBezTo>
                      <a:cubicBezTo>
                        <a:pt x="285649" y="714996"/>
                        <a:pt x="563531" y="561200"/>
                        <a:pt x="788982" y="407598"/>
                      </a:cubicBezTo>
                      <a:cubicBezTo>
                        <a:pt x="940642" y="304291"/>
                        <a:pt x="1065310" y="197488"/>
                        <a:pt x="1166093" y="99424"/>
                      </a:cubicBezTo>
                      <a:cubicBezTo>
                        <a:pt x="1179686" y="87384"/>
                        <a:pt x="1190560" y="76315"/>
                        <a:pt x="1199687" y="66218"/>
                      </a:cubicBezTo>
                      <a:cubicBezTo>
                        <a:pt x="1225708" y="37672"/>
                        <a:pt x="1239496" y="0"/>
                        <a:pt x="1239496" y="0"/>
                      </a:cubicBezTo>
                      <a:close/>
                    </a:path>
                  </a:pathLst>
                </a:custGeom>
                <a:gradFill>
                  <a:gsLst>
                    <a:gs pos="0">
                      <a:srgbClr val="005664"/>
                    </a:gs>
                    <a:gs pos="99350">
                      <a:srgbClr val="0097B2"/>
                    </a:gs>
                  </a:gsLst>
                  <a:lin ang="14501957" scaled="1"/>
                </a:gradFill>
                <a:ln w="13658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fr-FR" dirty="0"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</a:endParaRPr>
                </a:p>
              </p:txBody>
            </p:sp>
          </p:grpSp>
        </p:grpSp>
        <p:grpSp>
          <p:nvGrpSpPr>
            <p:cNvPr id="26" name="Groupe 4">
              <a:extLst>
                <a:ext uri="{FF2B5EF4-FFF2-40B4-BE49-F238E27FC236}">
                  <a16:creationId xmlns:a16="http://schemas.microsoft.com/office/drawing/2014/main" id="{04589EE9-6A5C-EAFE-1061-CDC2865C7AA5}"/>
                </a:ext>
              </a:extLst>
            </p:cNvPr>
            <p:cNvGrpSpPr/>
            <p:nvPr/>
          </p:nvGrpSpPr>
          <p:grpSpPr>
            <a:xfrm>
              <a:off x="1566945" y="1043727"/>
              <a:ext cx="885623" cy="937538"/>
              <a:chOff x="1240960" y="1969612"/>
              <a:chExt cx="625769" cy="662452"/>
            </a:xfrm>
          </p:grpSpPr>
          <p:grpSp>
            <p:nvGrpSpPr>
              <p:cNvPr id="27" name="Graphique 2">
                <a:extLst>
                  <a:ext uri="{FF2B5EF4-FFF2-40B4-BE49-F238E27FC236}">
                    <a16:creationId xmlns:a16="http://schemas.microsoft.com/office/drawing/2014/main" id="{9641DE07-60B7-D336-59BF-85F43C2D1870}"/>
                  </a:ext>
                </a:extLst>
              </p:cNvPr>
              <p:cNvGrpSpPr/>
              <p:nvPr/>
            </p:nvGrpSpPr>
            <p:grpSpPr>
              <a:xfrm flipH="1">
                <a:off x="1395728" y="1969612"/>
                <a:ext cx="319573" cy="383989"/>
                <a:chOff x="981026" y="1344834"/>
                <a:chExt cx="2418112" cy="2905527"/>
              </a:xfrm>
            </p:grpSpPr>
            <p:grpSp>
              <p:nvGrpSpPr>
                <p:cNvPr id="30" name="Graphique 2">
                  <a:extLst>
                    <a:ext uri="{FF2B5EF4-FFF2-40B4-BE49-F238E27FC236}">
                      <a16:creationId xmlns:a16="http://schemas.microsoft.com/office/drawing/2014/main" id="{478D601E-0CEF-B584-1CE0-6FE6542A1719}"/>
                    </a:ext>
                  </a:extLst>
                </p:cNvPr>
                <p:cNvGrpSpPr/>
                <p:nvPr/>
              </p:nvGrpSpPr>
              <p:grpSpPr>
                <a:xfrm>
                  <a:off x="1098817" y="1344834"/>
                  <a:ext cx="2184485" cy="887190"/>
                  <a:chOff x="1098817" y="1344834"/>
                  <a:chExt cx="2184485" cy="887190"/>
                </a:xfrm>
              </p:grpSpPr>
              <p:grpSp>
                <p:nvGrpSpPr>
                  <p:cNvPr id="61" name="Graphique 2">
                    <a:extLst>
                      <a:ext uri="{FF2B5EF4-FFF2-40B4-BE49-F238E27FC236}">
                        <a16:creationId xmlns:a16="http://schemas.microsoft.com/office/drawing/2014/main" id="{1D3F60EB-0A2E-BAEB-530B-107FC2E14637}"/>
                      </a:ext>
                    </a:extLst>
                  </p:cNvPr>
                  <p:cNvGrpSpPr/>
                  <p:nvPr/>
                </p:nvGrpSpPr>
                <p:grpSpPr>
                  <a:xfrm>
                    <a:off x="1098817" y="1344834"/>
                    <a:ext cx="770041" cy="887190"/>
                    <a:chOff x="1098817" y="1344834"/>
                    <a:chExt cx="770041" cy="887190"/>
                  </a:xfrm>
                </p:grpSpPr>
                <p:grpSp>
                  <p:nvGrpSpPr>
                    <p:cNvPr id="70" name="Graphique 2">
                      <a:extLst>
                        <a:ext uri="{FF2B5EF4-FFF2-40B4-BE49-F238E27FC236}">
                          <a16:creationId xmlns:a16="http://schemas.microsoft.com/office/drawing/2014/main" id="{54972D3F-EF22-657C-BB86-D59A355CABA7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098817" y="1344834"/>
                      <a:ext cx="770041" cy="613581"/>
                      <a:chOff x="1098817" y="1344834"/>
                      <a:chExt cx="770041" cy="613581"/>
                    </a:xfrm>
                  </p:grpSpPr>
                  <p:sp>
                    <p:nvSpPr>
                      <p:cNvPr id="74" name="Forme libre : forme 54">
                        <a:extLst>
                          <a:ext uri="{FF2B5EF4-FFF2-40B4-BE49-F238E27FC236}">
                            <a16:creationId xmlns:a16="http://schemas.microsoft.com/office/drawing/2014/main" id="{2155D5B3-336D-6417-A4FB-9E1C1C8AC872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098817" y="1344834"/>
                        <a:ext cx="736597" cy="555518"/>
                      </a:xfrm>
                      <a:custGeom>
                        <a:avLst/>
                        <a:gdLst>
                          <a:gd name="connsiteX0" fmla="*/ 219483 w 736597"/>
                          <a:gd name="connsiteY0" fmla="*/ 62874 h 555518"/>
                          <a:gd name="connsiteX1" fmla="*/ 38464 w 736597"/>
                          <a:gd name="connsiteY1" fmla="*/ 555518 h 555518"/>
                          <a:gd name="connsiteX2" fmla="*/ 736597 w 736597"/>
                          <a:gd name="connsiteY2" fmla="*/ 152499 h 555518"/>
                          <a:gd name="connsiteX3" fmla="*/ 219483 w 736597"/>
                          <a:gd name="connsiteY3" fmla="*/ 62874 h 555518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</a:cxnLst>
                        <a:rect l="l" t="t" r="r" b="b"/>
                        <a:pathLst>
                          <a:path w="736597" h="555518">
                            <a:moveTo>
                              <a:pt x="219483" y="62874"/>
                            </a:moveTo>
                            <a:cubicBezTo>
                              <a:pt x="26671" y="174021"/>
                              <a:pt x="-54404" y="394546"/>
                              <a:pt x="38464" y="555518"/>
                            </a:cubicBezTo>
                            <a:lnTo>
                              <a:pt x="736597" y="152499"/>
                            </a:lnTo>
                            <a:cubicBezTo>
                              <a:pt x="643729" y="-8178"/>
                              <a:pt x="412296" y="-48273"/>
                              <a:pt x="219483" y="62874"/>
                            </a:cubicBezTo>
                            <a:close/>
                          </a:path>
                        </a:pathLst>
                      </a:custGeom>
                      <a:solidFill>
                        <a:schemeClr val="bg1"/>
                      </a:solidFill>
                      <a:ln w="2946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fr-FR" dirty="0"/>
                      </a:p>
                    </p:txBody>
                  </p:sp>
                  <p:sp>
                    <p:nvSpPr>
                      <p:cNvPr id="75" name="Forme libre : forme 55">
                        <a:extLst>
                          <a:ext uri="{FF2B5EF4-FFF2-40B4-BE49-F238E27FC236}">
                            <a16:creationId xmlns:a16="http://schemas.microsoft.com/office/drawing/2014/main" id="{4167B9B5-4079-3473-0F91-8EB9881C7A05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295894" y="1365598"/>
                        <a:ext cx="516229" cy="179200"/>
                      </a:xfrm>
                      <a:custGeom>
                        <a:avLst/>
                        <a:gdLst>
                          <a:gd name="connsiteX0" fmla="*/ 4127 w 516229"/>
                          <a:gd name="connsiteY0" fmla="*/ 62747 h 179200"/>
                          <a:gd name="connsiteX1" fmla="*/ 0 w 516229"/>
                          <a:gd name="connsiteY1" fmla="*/ 65400 h 179200"/>
                          <a:gd name="connsiteX2" fmla="*/ 457266 w 516229"/>
                          <a:gd name="connsiteY2" fmla="*/ 179201 h 179200"/>
                          <a:gd name="connsiteX3" fmla="*/ 516230 w 516229"/>
                          <a:gd name="connsiteY3" fmla="*/ 145296 h 179200"/>
                          <a:gd name="connsiteX4" fmla="*/ 4127 w 516229"/>
                          <a:gd name="connsiteY4" fmla="*/ 62747 h 17920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</a:cxnLst>
                        <a:rect l="l" t="t" r="r" b="b"/>
                        <a:pathLst>
                          <a:path w="516229" h="179200">
                            <a:moveTo>
                              <a:pt x="4127" y="62747"/>
                            </a:moveTo>
                            <a:cubicBezTo>
                              <a:pt x="2653" y="63631"/>
                              <a:pt x="1474" y="64516"/>
                              <a:pt x="0" y="65400"/>
                            </a:cubicBezTo>
                            <a:cubicBezTo>
                              <a:pt x="177776" y="-8010"/>
                              <a:pt x="372357" y="37097"/>
                              <a:pt x="457266" y="179201"/>
                            </a:cubicBezTo>
                            <a:lnTo>
                              <a:pt x="516230" y="145296"/>
                            </a:lnTo>
                            <a:cubicBezTo>
                              <a:pt x="420708" y="-9189"/>
                              <a:pt x="193697" y="-46631"/>
                              <a:pt x="4127" y="62747"/>
                            </a:cubicBezTo>
                            <a:close/>
                          </a:path>
                        </a:pathLst>
                      </a:custGeom>
                      <a:solidFill>
                        <a:srgbClr val="37D3CF"/>
                      </a:solidFill>
                      <a:ln w="2946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fr-FR"/>
                      </a:p>
                    </p:txBody>
                  </p:sp>
                  <p:sp>
                    <p:nvSpPr>
                      <p:cNvPr id="76" name="Forme libre : forme 57">
                        <a:extLst>
                          <a:ext uri="{FF2B5EF4-FFF2-40B4-BE49-F238E27FC236}">
                            <a16:creationId xmlns:a16="http://schemas.microsoft.com/office/drawing/2014/main" id="{ECB1D19E-84C6-2814-983F-966E42935D96}"/>
                          </a:ext>
                        </a:extLst>
                      </p:cNvPr>
                      <p:cNvSpPr/>
                      <p:nvPr/>
                    </p:nvSpPr>
                    <p:spPr>
                      <a:xfrm rot="-1800044">
                        <a:off x="1083373" y="1632027"/>
                        <a:ext cx="806019" cy="133845"/>
                      </a:xfrm>
                      <a:custGeom>
                        <a:avLst/>
                        <a:gdLst>
                          <a:gd name="connsiteX0" fmla="*/ 806020 w 806019"/>
                          <a:gd name="connsiteY0" fmla="*/ 66923 h 133845"/>
                          <a:gd name="connsiteX1" fmla="*/ 403010 w 806019"/>
                          <a:gd name="connsiteY1" fmla="*/ 133845 h 133845"/>
                          <a:gd name="connsiteX2" fmla="*/ 0 w 806019"/>
                          <a:gd name="connsiteY2" fmla="*/ 66923 h 133845"/>
                          <a:gd name="connsiteX3" fmla="*/ 403010 w 806019"/>
                          <a:gd name="connsiteY3" fmla="*/ 0 h 133845"/>
                          <a:gd name="connsiteX4" fmla="*/ 806020 w 806019"/>
                          <a:gd name="connsiteY4" fmla="*/ 66923 h 133845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</a:cxnLst>
                        <a:rect l="l" t="t" r="r" b="b"/>
                        <a:pathLst>
                          <a:path w="806019" h="133845">
                            <a:moveTo>
                              <a:pt x="806020" y="66923"/>
                            </a:moveTo>
                            <a:cubicBezTo>
                              <a:pt x="806020" y="103883"/>
                              <a:pt x="625586" y="133845"/>
                              <a:pt x="403010" y="133845"/>
                            </a:cubicBezTo>
                            <a:cubicBezTo>
                              <a:pt x="180434" y="133845"/>
                              <a:pt x="0" y="103883"/>
                              <a:pt x="0" y="66923"/>
                            </a:cubicBezTo>
                            <a:cubicBezTo>
                              <a:pt x="0" y="29962"/>
                              <a:pt x="180434" y="0"/>
                              <a:pt x="403010" y="0"/>
                            </a:cubicBezTo>
                            <a:cubicBezTo>
                              <a:pt x="625586" y="0"/>
                              <a:pt x="806020" y="29962"/>
                              <a:pt x="806020" y="66923"/>
                            </a:cubicBezTo>
                            <a:close/>
                          </a:path>
                        </a:pathLst>
                      </a:custGeom>
                      <a:solidFill>
                        <a:srgbClr val="05535F"/>
                      </a:solidFill>
                      <a:ln w="29459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fr-FR"/>
                      </a:p>
                    </p:txBody>
                  </p:sp>
                </p:grpSp>
                <p:grpSp>
                  <p:nvGrpSpPr>
                    <p:cNvPr id="71" name="Graphique 2">
                      <a:extLst>
                        <a:ext uri="{FF2B5EF4-FFF2-40B4-BE49-F238E27FC236}">
                          <a16:creationId xmlns:a16="http://schemas.microsoft.com/office/drawing/2014/main" id="{95EFE0AB-8BCB-6002-1673-C4C713E760B7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426335" y="1651948"/>
                      <a:ext cx="412617" cy="580075"/>
                      <a:chOff x="1426335" y="1651948"/>
                      <a:chExt cx="412617" cy="580075"/>
                    </a:xfrm>
                  </p:grpSpPr>
                  <p:sp>
                    <p:nvSpPr>
                      <p:cNvPr id="72" name="Forme libre : forme 49">
                        <a:extLst>
                          <a:ext uri="{FF2B5EF4-FFF2-40B4-BE49-F238E27FC236}">
                            <a16:creationId xmlns:a16="http://schemas.microsoft.com/office/drawing/2014/main" id="{DEFCD908-40DE-C990-FCCA-AECEB68F3335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26335" y="1651948"/>
                        <a:ext cx="412617" cy="580075"/>
                      </a:xfrm>
                      <a:custGeom>
                        <a:avLst/>
                        <a:gdLst>
                          <a:gd name="connsiteX0" fmla="*/ 412618 w 412617"/>
                          <a:gd name="connsiteY0" fmla="*/ 502538 h 580075"/>
                          <a:gd name="connsiteX1" fmla="*/ 278180 w 412617"/>
                          <a:gd name="connsiteY1" fmla="*/ 580075 h 580075"/>
                          <a:gd name="connsiteX2" fmla="*/ 10483 w 412617"/>
                          <a:gd name="connsiteY2" fmla="*/ 116324 h 580075"/>
                          <a:gd name="connsiteX3" fmla="*/ 38786 w 412617"/>
                          <a:gd name="connsiteY3" fmla="*/ 10483 h 580075"/>
                          <a:gd name="connsiteX4" fmla="*/ 144626 w 412617"/>
                          <a:gd name="connsiteY4" fmla="*/ 38786 h 580075"/>
                          <a:gd name="connsiteX5" fmla="*/ 412618 w 412617"/>
                          <a:gd name="connsiteY5" fmla="*/ 502538 h 580075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</a:cxnLst>
                        <a:rect l="l" t="t" r="r" b="b"/>
                        <a:pathLst>
                          <a:path w="412617" h="580075">
                            <a:moveTo>
                              <a:pt x="412618" y="502538"/>
                            </a:moveTo>
                            <a:lnTo>
                              <a:pt x="278180" y="580075"/>
                            </a:lnTo>
                            <a:lnTo>
                              <a:pt x="10483" y="116324"/>
                            </a:lnTo>
                            <a:cubicBezTo>
                              <a:pt x="-11038" y="79176"/>
                              <a:pt x="1639" y="31710"/>
                              <a:pt x="38786" y="10483"/>
                            </a:cubicBezTo>
                            <a:cubicBezTo>
                              <a:pt x="75933" y="-11038"/>
                              <a:pt x="123399" y="1639"/>
                              <a:pt x="144626" y="38786"/>
                            </a:cubicBezTo>
                            <a:lnTo>
                              <a:pt x="412618" y="502538"/>
                            </a:lnTo>
                            <a:close/>
                          </a:path>
                        </a:pathLst>
                      </a:custGeom>
                      <a:solidFill>
                        <a:srgbClr val="044856"/>
                      </a:solidFill>
                      <a:ln w="2946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fr-FR" dirty="0"/>
                      </a:p>
                    </p:txBody>
                  </p:sp>
                  <p:sp>
                    <p:nvSpPr>
                      <p:cNvPr id="73" name="Forme libre : forme 50">
                        <a:extLst>
                          <a:ext uri="{FF2B5EF4-FFF2-40B4-BE49-F238E27FC236}">
                            <a16:creationId xmlns:a16="http://schemas.microsoft.com/office/drawing/2014/main" id="{9C7F940C-FCFD-8A05-7946-54A7BA0B70A4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507280" y="1667149"/>
                        <a:ext cx="301895" cy="475249"/>
                      </a:xfrm>
                      <a:custGeom>
                        <a:avLst/>
                        <a:gdLst>
                          <a:gd name="connsiteX0" fmla="*/ 288923 w 301895"/>
                          <a:gd name="connsiteY0" fmla="*/ 475250 h 475249"/>
                          <a:gd name="connsiteX1" fmla="*/ 301896 w 301895"/>
                          <a:gd name="connsiteY1" fmla="*/ 467584 h 475249"/>
                          <a:gd name="connsiteX2" fmla="*/ 53362 w 301895"/>
                          <a:gd name="connsiteY2" fmla="*/ 37147 h 475249"/>
                          <a:gd name="connsiteX3" fmla="*/ 0 w 301895"/>
                          <a:gd name="connsiteY3" fmla="*/ 0 h 475249"/>
                          <a:gd name="connsiteX4" fmla="*/ 32135 w 301895"/>
                          <a:gd name="connsiteY4" fmla="*/ 30366 h 475249"/>
                          <a:gd name="connsiteX5" fmla="*/ 288923 w 301895"/>
                          <a:gd name="connsiteY5" fmla="*/ 475250 h 475249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</a:cxnLst>
                        <a:rect l="l" t="t" r="r" b="b"/>
                        <a:pathLst>
                          <a:path w="301895" h="475249">
                            <a:moveTo>
                              <a:pt x="288923" y="475250"/>
                            </a:moveTo>
                            <a:lnTo>
                              <a:pt x="301896" y="467584"/>
                            </a:lnTo>
                            <a:lnTo>
                              <a:pt x="53362" y="37147"/>
                            </a:lnTo>
                            <a:cubicBezTo>
                              <a:pt x="41570" y="16510"/>
                              <a:pt x="21522" y="3833"/>
                              <a:pt x="0" y="0"/>
                            </a:cubicBezTo>
                            <a:cubicBezTo>
                              <a:pt x="12972" y="6486"/>
                              <a:pt x="24175" y="16805"/>
                              <a:pt x="32135" y="30366"/>
                            </a:cubicBezTo>
                            <a:lnTo>
                              <a:pt x="288923" y="475250"/>
                            </a:lnTo>
                            <a:close/>
                          </a:path>
                        </a:pathLst>
                      </a:custGeom>
                      <a:solidFill>
                        <a:srgbClr val="087379"/>
                      </a:solidFill>
                      <a:ln w="2946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fr-FR"/>
                      </a:p>
                    </p:txBody>
                  </p:sp>
                </p:grpSp>
              </p:grpSp>
              <p:grpSp>
                <p:nvGrpSpPr>
                  <p:cNvPr id="62" name="Graphique 2">
                    <a:extLst>
                      <a:ext uri="{FF2B5EF4-FFF2-40B4-BE49-F238E27FC236}">
                        <a16:creationId xmlns:a16="http://schemas.microsoft.com/office/drawing/2014/main" id="{AF2FE3BF-71E9-36BC-188F-747DFF3E9351}"/>
                      </a:ext>
                    </a:extLst>
                  </p:cNvPr>
                  <p:cNvGrpSpPr/>
                  <p:nvPr/>
                </p:nvGrpSpPr>
                <p:grpSpPr>
                  <a:xfrm>
                    <a:off x="2513728" y="1344834"/>
                    <a:ext cx="769575" cy="887190"/>
                    <a:chOff x="2513728" y="1344834"/>
                    <a:chExt cx="769575" cy="887190"/>
                  </a:xfrm>
                </p:grpSpPr>
                <p:grpSp>
                  <p:nvGrpSpPr>
                    <p:cNvPr id="63" name="Graphique 2">
                      <a:extLst>
                        <a:ext uri="{FF2B5EF4-FFF2-40B4-BE49-F238E27FC236}">
                          <a16:creationId xmlns:a16="http://schemas.microsoft.com/office/drawing/2014/main" id="{5177C374-0465-530C-7220-B79A20664598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2513728" y="1344834"/>
                      <a:ext cx="769575" cy="613500"/>
                      <a:chOff x="2513728" y="1344834"/>
                      <a:chExt cx="769575" cy="613500"/>
                    </a:xfrm>
                  </p:grpSpPr>
                  <p:sp>
                    <p:nvSpPr>
                      <p:cNvPr id="67" name="Forme libre : forme 44">
                        <a:extLst>
                          <a:ext uri="{FF2B5EF4-FFF2-40B4-BE49-F238E27FC236}">
                            <a16:creationId xmlns:a16="http://schemas.microsoft.com/office/drawing/2014/main" id="{67E820AD-DBF0-2762-79DE-AAC6B2918908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2546815" y="1344834"/>
                        <a:ext cx="736487" cy="555518"/>
                      </a:xfrm>
                      <a:custGeom>
                        <a:avLst/>
                        <a:gdLst>
                          <a:gd name="connsiteX0" fmla="*/ 517114 w 736487"/>
                          <a:gd name="connsiteY0" fmla="*/ 62874 h 555518"/>
                          <a:gd name="connsiteX1" fmla="*/ 0 w 736487"/>
                          <a:gd name="connsiteY1" fmla="*/ 152499 h 555518"/>
                          <a:gd name="connsiteX2" fmla="*/ 697839 w 736487"/>
                          <a:gd name="connsiteY2" fmla="*/ 555518 h 555518"/>
                          <a:gd name="connsiteX3" fmla="*/ 517114 w 736487"/>
                          <a:gd name="connsiteY3" fmla="*/ 62874 h 555518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</a:cxnLst>
                        <a:rect l="l" t="t" r="r" b="b"/>
                        <a:pathLst>
                          <a:path w="736487" h="555518">
                            <a:moveTo>
                              <a:pt x="517114" y="62874"/>
                            </a:moveTo>
                            <a:cubicBezTo>
                              <a:pt x="324302" y="-48273"/>
                              <a:pt x="92868" y="-8178"/>
                              <a:pt x="0" y="152499"/>
                            </a:cubicBezTo>
                            <a:lnTo>
                              <a:pt x="697839" y="555518"/>
                            </a:lnTo>
                            <a:cubicBezTo>
                              <a:pt x="791002" y="394841"/>
                              <a:pt x="709926" y="174316"/>
                              <a:pt x="517114" y="62874"/>
                            </a:cubicBezTo>
                            <a:close/>
                          </a:path>
                        </a:pathLst>
                      </a:custGeom>
                      <a:solidFill>
                        <a:schemeClr val="bg1"/>
                      </a:solidFill>
                      <a:ln w="2946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fr-FR"/>
                      </a:p>
                    </p:txBody>
                  </p:sp>
                  <p:sp>
                    <p:nvSpPr>
                      <p:cNvPr id="68" name="Forme libre : forme 45">
                        <a:extLst>
                          <a:ext uri="{FF2B5EF4-FFF2-40B4-BE49-F238E27FC236}">
                            <a16:creationId xmlns:a16="http://schemas.microsoft.com/office/drawing/2014/main" id="{FF5572D4-6A93-89DC-2822-CC455AA22F6B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3032678" y="1400042"/>
                        <a:ext cx="223421" cy="486747"/>
                      </a:xfrm>
                      <a:custGeom>
                        <a:avLst/>
                        <a:gdLst>
                          <a:gd name="connsiteX0" fmla="*/ 4422 w 223421"/>
                          <a:gd name="connsiteY0" fmla="*/ 2359 h 486747"/>
                          <a:gd name="connsiteX1" fmla="*/ 0 w 223421"/>
                          <a:gd name="connsiteY1" fmla="*/ 0 h 486747"/>
                          <a:gd name="connsiteX2" fmla="*/ 130311 w 223421"/>
                          <a:gd name="connsiteY2" fmla="*/ 452843 h 486747"/>
                          <a:gd name="connsiteX3" fmla="*/ 189275 w 223421"/>
                          <a:gd name="connsiteY3" fmla="*/ 486748 h 486747"/>
                          <a:gd name="connsiteX4" fmla="*/ 4422 w 223421"/>
                          <a:gd name="connsiteY4" fmla="*/ 2359 h 48674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</a:cxnLst>
                        <a:rect l="l" t="t" r="r" b="b"/>
                        <a:pathLst>
                          <a:path w="223421" h="486747">
                            <a:moveTo>
                              <a:pt x="4422" y="2359"/>
                            </a:moveTo>
                            <a:cubicBezTo>
                              <a:pt x="2948" y="1474"/>
                              <a:pt x="1474" y="884"/>
                              <a:pt x="0" y="0"/>
                            </a:cubicBezTo>
                            <a:cubicBezTo>
                              <a:pt x="152422" y="117044"/>
                              <a:pt x="210796" y="308382"/>
                              <a:pt x="130311" y="452843"/>
                            </a:cubicBezTo>
                            <a:lnTo>
                              <a:pt x="189275" y="486748"/>
                            </a:lnTo>
                            <a:cubicBezTo>
                              <a:pt x="275067" y="326955"/>
                              <a:pt x="193992" y="111737"/>
                              <a:pt x="4422" y="2359"/>
                            </a:cubicBezTo>
                            <a:close/>
                          </a:path>
                        </a:pathLst>
                      </a:custGeom>
                      <a:solidFill>
                        <a:srgbClr val="37D3CF"/>
                      </a:solidFill>
                      <a:ln w="2946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fr-FR"/>
                      </a:p>
                    </p:txBody>
                  </p:sp>
                  <p:sp>
                    <p:nvSpPr>
                      <p:cNvPr id="69" name="Forme libre : forme 46">
                        <a:extLst>
                          <a:ext uri="{FF2B5EF4-FFF2-40B4-BE49-F238E27FC236}">
                            <a16:creationId xmlns:a16="http://schemas.microsoft.com/office/drawing/2014/main" id="{B9B95EC3-96FA-3CA9-F95C-0C48D1A2A5EA}"/>
                          </a:ext>
                        </a:extLst>
                      </p:cNvPr>
                      <p:cNvSpPr/>
                      <p:nvPr/>
                    </p:nvSpPr>
                    <p:spPr>
                      <a:xfrm rot="-3599956">
                        <a:off x="2829282" y="1295859"/>
                        <a:ext cx="133845" cy="806019"/>
                      </a:xfrm>
                      <a:custGeom>
                        <a:avLst/>
                        <a:gdLst>
                          <a:gd name="connsiteX0" fmla="*/ 133845 w 133845"/>
                          <a:gd name="connsiteY0" fmla="*/ 403010 h 806019"/>
                          <a:gd name="connsiteX1" fmla="*/ 66923 w 133845"/>
                          <a:gd name="connsiteY1" fmla="*/ 806020 h 806019"/>
                          <a:gd name="connsiteX2" fmla="*/ 0 w 133845"/>
                          <a:gd name="connsiteY2" fmla="*/ 403010 h 806019"/>
                          <a:gd name="connsiteX3" fmla="*/ 66923 w 133845"/>
                          <a:gd name="connsiteY3" fmla="*/ 0 h 806019"/>
                          <a:gd name="connsiteX4" fmla="*/ 133845 w 133845"/>
                          <a:gd name="connsiteY4" fmla="*/ 403010 h 806019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</a:cxnLst>
                        <a:rect l="l" t="t" r="r" b="b"/>
                        <a:pathLst>
                          <a:path w="133845" h="806019">
                            <a:moveTo>
                              <a:pt x="133845" y="403010"/>
                            </a:moveTo>
                            <a:cubicBezTo>
                              <a:pt x="133845" y="625586"/>
                              <a:pt x="103883" y="806020"/>
                              <a:pt x="66923" y="806020"/>
                            </a:cubicBezTo>
                            <a:cubicBezTo>
                              <a:pt x="29962" y="806020"/>
                              <a:pt x="0" y="625586"/>
                              <a:pt x="0" y="403010"/>
                            </a:cubicBezTo>
                            <a:cubicBezTo>
                              <a:pt x="0" y="180434"/>
                              <a:pt x="29962" y="0"/>
                              <a:pt x="66923" y="0"/>
                            </a:cubicBezTo>
                            <a:cubicBezTo>
                              <a:pt x="103883" y="0"/>
                              <a:pt x="133845" y="180434"/>
                              <a:pt x="133845" y="403010"/>
                            </a:cubicBezTo>
                            <a:close/>
                          </a:path>
                        </a:pathLst>
                      </a:custGeom>
                      <a:solidFill>
                        <a:srgbClr val="05535F"/>
                      </a:solidFill>
                      <a:ln w="29459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fr-FR"/>
                      </a:p>
                    </p:txBody>
                  </p:sp>
                </p:grpSp>
                <p:grpSp>
                  <p:nvGrpSpPr>
                    <p:cNvPr id="64" name="Graphique 2">
                      <a:extLst>
                        <a:ext uri="{FF2B5EF4-FFF2-40B4-BE49-F238E27FC236}">
                          <a16:creationId xmlns:a16="http://schemas.microsoft.com/office/drawing/2014/main" id="{E22F38A1-7C79-3369-B88B-5D06AB9914FC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2543277" y="1651948"/>
                      <a:ext cx="412322" cy="580075"/>
                      <a:chOff x="2543277" y="1651948"/>
                      <a:chExt cx="412322" cy="580075"/>
                    </a:xfrm>
                  </p:grpSpPr>
                  <p:sp>
                    <p:nvSpPr>
                      <p:cNvPr id="65" name="Forme libre : forme 42">
                        <a:extLst>
                          <a:ext uri="{FF2B5EF4-FFF2-40B4-BE49-F238E27FC236}">
                            <a16:creationId xmlns:a16="http://schemas.microsoft.com/office/drawing/2014/main" id="{D6832A64-3089-E23F-BB6B-B4B2BC010A22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2543277" y="1651948"/>
                        <a:ext cx="412322" cy="580075"/>
                      </a:xfrm>
                      <a:custGeom>
                        <a:avLst/>
                        <a:gdLst>
                          <a:gd name="connsiteX0" fmla="*/ 134438 w 412322"/>
                          <a:gd name="connsiteY0" fmla="*/ 580075 h 580075"/>
                          <a:gd name="connsiteX1" fmla="*/ 0 w 412322"/>
                          <a:gd name="connsiteY1" fmla="*/ 502538 h 580075"/>
                          <a:gd name="connsiteX2" fmla="*/ 267697 w 412322"/>
                          <a:gd name="connsiteY2" fmla="*/ 38786 h 580075"/>
                          <a:gd name="connsiteX3" fmla="*/ 373537 w 412322"/>
                          <a:gd name="connsiteY3" fmla="*/ 10483 h 580075"/>
                          <a:gd name="connsiteX4" fmla="*/ 401840 w 412322"/>
                          <a:gd name="connsiteY4" fmla="*/ 116324 h 580075"/>
                          <a:gd name="connsiteX5" fmla="*/ 134438 w 412322"/>
                          <a:gd name="connsiteY5" fmla="*/ 580075 h 580075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</a:cxnLst>
                        <a:rect l="l" t="t" r="r" b="b"/>
                        <a:pathLst>
                          <a:path w="412322" h="580075">
                            <a:moveTo>
                              <a:pt x="134438" y="580075"/>
                            </a:moveTo>
                            <a:lnTo>
                              <a:pt x="0" y="502538"/>
                            </a:lnTo>
                            <a:lnTo>
                              <a:pt x="267697" y="38786"/>
                            </a:lnTo>
                            <a:cubicBezTo>
                              <a:pt x="289218" y="1639"/>
                              <a:pt x="336684" y="-11038"/>
                              <a:pt x="373537" y="10483"/>
                            </a:cubicBezTo>
                            <a:cubicBezTo>
                              <a:pt x="410684" y="32005"/>
                              <a:pt x="423361" y="79471"/>
                              <a:pt x="401840" y="116324"/>
                            </a:cubicBezTo>
                            <a:lnTo>
                              <a:pt x="134438" y="580075"/>
                            </a:lnTo>
                            <a:close/>
                          </a:path>
                        </a:pathLst>
                      </a:custGeom>
                      <a:solidFill>
                        <a:srgbClr val="044856"/>
                      </a:solidFill>
                      <a:ln w="2946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fr-FR"/>
                      </a:p>
                    </p:txBody>
                  </p:sp>
                  <p:sp>
                    <p:nvSpPr>
                      <p:cNvPr id="66" name="Forme libre : forme 43">
                        <a:extLst>
                          <a:ext uri="{FF2B5EF4-FFF2-40B4-BE49-F238E27FC236}">
                            <a16:creationId xmlns:a16="http://schemas.microsoft.com/office/drawing/2014/main" id="{3451F003-2D94-E15D-004F-B2C6F0B8019B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2666807" y="1701348"/>
                        <a:ext cx="271718" cy="495297"/>
                      </a:xfrm>
                      <a:custGeom>
                        <a:avLst/>
                        <a:gdLst>
                          <a:gd name="connsiteX0" fmla="*/ 0 w 271718"/>
                          <a:gd name="connsiteY0" fmla="*/ 487632 h 495297"/>
                          <a:gd name="connsiteX1" fmla="*/ 12972 w 271718"/>
                          <a:gd name="connsiteY1" fmla="*/ 495297 h 495297"/>
                          <a:gd name="connsiteX2" fmla="*/ 261505 w 271718"/>
                          <a:gd name="connsiteY2" fmla="*/ 64860 h 495297"/>
                          <a:gd name="connsiteX3" fmla="*/ 267107 w 271718"/>
                          <a:gd name="connsiteY3" fmla="*/ 0 h 495297"/>
                          <a:gd name="connsiteX4" fmla="*/ 256788 w 271718"/>
                          <a:gd name="connsiteY4" fmla="*/ 43044 h 495297"/>
                          <a:gd name="connsiteX5" fmla="*/ 0 w 271718"/>
                          <a:gd name="connsiteY5" fmla="*/ 487632 h 49529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</a:cxnLst>
                        <a:rect l="l" t="t" r="r" b="b"/>
                        <a:pathLst>
                          <a:path w="271718" h="495297">
                            <a:moveTo>
                              <a:pt x="0" y="487632"/>
                            </a:moveTo>
                            <a:lnTo>
                              <a:pt x="12972" y="495297"/>
                            </a:lnTo>
                            <a:lnTo>
                              <a:pt x="261505" y="64860"/>
                            </a:lnTo>
                            <a:cubicBezTo>
                              <a:pt x="273298" y="44223"/>
                              <a:pt x="274477" y="20637"/>
                              <a:pt x="267107" y="0"/>
                            </a:cubicBezTo>
                            <a:cubicBezTo>
                              <a:pt x="267991" y="14446"/>
                              <a:pt x="264748" y="29482"/>
                              <a:pt x="256788" y="43044"/>
                            </a:cubicBezTo>
                            <a:lnTo>
                              <a:pt x="0" y="487632"/>
                            </a:lnTo>
                            <a:close/>
                          </a:path>
                        </a:pathLst>
                      </a:custGeom>
                      <a:solidFill>
                        <a:srgbClr val="087379"/>
                      </a:solidFill>
                      <a:ln w="2946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fr-FR"/>
                      </a:p>
                    </p:txBody>
                  </p:sp>
                </p:grpSp>
              </p:grpSp>
            </p:grpSp>
            <p:grpSp>
              <p:nvGrpSpPr>
                <p:cNvPr id="32" name="Graphique 2">
                  <a:extLst>
                    <a:ext uri="{FF2B5EF4-FFF2-40B4-BE49-F238E27FC236}">
                      <a16:creationId xmlns:a16="http://schemas.microsoft.com/office/drawing/2014/main" id="{E63E833D-4ACF-BC24-C2A9-F5CC845624B9}"/>
                    </a:ext>
                  </a:extLst>
                </p:cNvPr>
                <p:cNvGrpSpPr/>
                <p:nvPr/>
              </p:nvGrpSpPr>
              <p:grpSpPr>
                <a:xfrm>
                  <a:off x="1307097" y="3544562"/>
                  <a:ext cx="1765971" cy="705798"/>
                  <a:chOff x="1307097" y="3544562"/>
                  <a:chExt cx="1765971" cy="705798"/>
                </a:xfrm>
              </p:grpSpPr>
              <p:grpSp>
                <p:nvGrpSpPr>
                  <p:cNvPr id="54" name="Graphique 2">
                    <a:extLst>
                      <a:ext uri="{FF2B5EF4-FFF2-40B4-BE49-F238E27FC236}">
                        <a16:creationId xmlns:a16="http://schemas.microsoft.com/office/drawing/2014/main" id="{58FBF9E4-2ADE-2370-DAA9-B6F5658EFBA8}"/>
                      </a:ext>
                    </a:extLst>
                  </p:cNvPr>
                  <p:cNvGrpSpPr/>
                  <p:nvPr/>
                </p:nvGrpSpPr>
                <p:grpSpPr>
                  <a:xfrm>
                    <a:off x="1307097" y="3544562"/>
                    <a:ext cx="737344" cy="705798"/>
                    <a:chOff x="1307097" y="3544562"/>
                    <a:chExt cx="737344" cy="705798"/>
                  </a:xfrm>
                </p:grpSpPr>
                <p:sp>
                  <p:nvSpPr>
                    <p:cNvPr id="59" name="Forme libre : forme 36">
                      <a:extLst>
                        <a:ext uri="{FF2B5EF4-FFF2-40B4-BE49-F238E27FC236}">
                          <a16:creationId xmlns:a16="http://schemas.microsoft.com/office/drawing/2014/main" id="{74B26A51-D184-65D7-DD94-E57B0733F889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351910" y="3575813"/>
                      <a:ext cx="692531" cy="674548"/>
                    </a:xfrm>
                    <a:custGeom>
                      <a:avLst/>
                      <a:gdLst>
                        <a:gd name="connsiteX0" fmla="*/ 692532 w 692531"/>
                        <a:gd name="connsiteY0" fmla="*/ 63386 h 674548"/>
                        <a:gd name="connsiteX1" fmla="*/ 438692 w 692531"/>
                        <a:gd name="connsiteY1" fmla="*/ 0 h 674548"/>
                        <a:gd name="connsiteX2" fmla="*/ 0 w 692531"/>
                        <a:gd name="connsiteY2" fmla="*/ 674548 h 674548"/>
                        <a:gd name="connsiteX3" fmla="*/ 65745 w 692531"/>
                        <a:gd name="connsiteY3" fmla="*/ 674548 h 674548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</a:cxnLst>
                      <a:rect l="l" t="t" r="r" b="b"/>
                      <a:pathLst>
                        <a:path w="692531" h="674548">
                          <a:moveTo>
                            <a:pt x="692532" y="63386"/>
                          </a:moveTo>
                          <a:lnTo>
                            <a:pt x="438692" y="0"/>
                          </a:lnTo>
                          <a:lnTo>
                            <a:pt x="0" y="674548"/>
                          </a:lnTo>
                          <a:lnTo>
                            <a:pt x="65745" y="674548"/>
                          </a:lnTo>
                          <a:close/>
                        </a:path>
                      </a:pathLst>
                    </a:custGeom>
                    <a:solidFill>
                      <a:schemeClr val="bg1"/>
                    </a:solidFill>
                    <a:ln w="2946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fr-FR" dirty="0"/>
                    </a:p>
                  </p:txBody>
                </p:sp>
                <p:sp>
                  <p:nvSpPr>
                    <p:cNvPr id="60" name="Forme libre : forme 37">
                      <a:extLst>
                        <a:ext uri="{FF2B5EF4-FFF2-40B4-BE49-F238E27FC236}">
                          <a16:creationId xmlns:a16="http://schemas.microsoft.com/office/drawing/2014/main" id="{31EFCBC0-1247-331B-FCFE-96D540607F33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307097" y="3544562"/>
                      <a:ext cx="483504" cy="705798"/>
                    </a:xfrm>
                    <a:custGeom>
                      <a:avLst/>
                      <a:gdLst>
                        <a:gd name="connsiteX0" fmla="*/ 358501 w 483504"/>
                        <a:gd name="connsiteY0" fmla="*/ 0 h 705798"/>
                        <a:gd name="connsiteX1" fmla="*/ 0 w 483504"/>
                        <a:gd name="connsiteY1" fmla="*/ 705799 h 705798"/>
                        <a:gd name="connsiteX2" fmla="*/ 44813 w 483504"/>
                        <a:gd name="connsiteY2" fmla="*/ 705799 h 705798"/>
                        <a:gd name="connsiteX3" fmla="*/ 483505 w 483504"/>
                        <a:gd name="connsiteY3" fmla="*/ 31251 h 705798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</a:cxnLst>
                      <a:rect l="l" t="t" r="r" b="b"/>
                      <a:pathLst>
                        <a:path w="483504" h="705798">
                          <a:moveTo>
                            <a:pt x="358501" y="0"/>
                          </a:moveTo>
                          <a:lnTo>
                            <a:pt x="0" y="705799"/>
                          </a:lnTo>
                          <a:lnTo>
                            <a:pt x="44813" y="705799"/>
                          </a:lnTo>
                          <a:lnTo>
                            <a:pt x="483505" y="31251"/>
                          </a:lnTo>
                          <a:close/>
                        </a:path>
                      </a:pathLst>
                    </a:custGeom>
                    <a:solidFill>
                      <a:srgbClr val="0B9392"/>
                    </a:solidFill>
                    <a:ln w="2946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fr-FR"/>
                    </a:p>
                  </p:txBody>
                </p:sp>
              </p:grpSp>
              <p:grpSp>
                <p:nvGrpSpPr>
                  <p:cNvPr id="56" name="Graphique 2">
                    <a:extLst>
                      <a:ext uri="{FF2B5EF4-FFF2-40B4-BE49-F238E27FC236}">
                        <a16:creationId xmlns:a16="http://schemas.microsoft.com/office/drawing/2014/main" id="{C15AAD80-DFFB-159B-9C23-1EC1EAA4C471}"/>
                      </a:ext>
                    </a:extLst>
                  </p:cNvPr>
                  <p:cNvGrpSpPr/>
                  <p:nvPr/>
                </p:nvGrpSpPr>
                <p:grpSpPr>
                  <a:xfrm>
                    <a:off x="2335429" y="3544562"/>
                    <a:ext cx="737639" cy="705798"/>
                    <a:chOff x="2335429" y="3544562"/>
                    <a:chExt cx="737639" cy="705798"/>
                  </a:xfrm>
                </p:grpSpPr>
                <p:sp>
                  <p:nvSpPr>
                    <p:cNvPr id="57" name="Forme libre : forme 34">
                      <a:extLst>
                        <a:ext uri="{FF2B5EF4-FFF2-40B4-BE49-F238E27FC236}">
                          <a16:creationId xmlns:a16="http://schemas.microsoft.com/office/drawing/2014/main" id="{1B1C502A-A6D0-5BBB-9F7E-6969C3D9C418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2335429" y="3575813"/>
                      <a:ext cx="692826" cy="674548"/>
                    </a:xfrm>
                    <a:custGeom>
                      <a:avLst/>
                      <a:gdLst>
                        <a:gd name="connsiteX0" fmla="*/ 0 w 692826"/>
                        <a:gd name="connsiteY0" fmla="*/ 63386 h 674548"/>
                        <a:gd name="connsiteX1" fmla="*/ 254135 w 692826"/>
                        <a:gd name="connsiteY1" fmla="*/ 0 h 674548"/>
                        <a:gd name="connsiteX2" fmla="*/ 692827 w 692826"/>
                        <a:gd name="connsiteY2" fmla="*/ 674548 h 674548"/>
                        <a:gd name="connsiteX3" fmla="*/ 627082 w 692826"/>
                        <a:gd name="connsiteY3" fmla="*/ 674548 h 674548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</a:cxnLst>
                      <a:rect l="l" t="t" r="r" b="b"/>
                      <a:pathLst>
                        <a:path w="692826" h="674548">
                          <a:moveTo>
                            <a:pt x="0" y="63386"/>
                          </a:moveTo>
                          <a:lnTo>
                            <a:pt x="254135" y="0"/>
                          </a:lnTo>
                          <a:lnTo>
                            <a:pt x="692827" y="674548"/>
                          </a:lnTo>
                          <a:lnTo>
                            <a:pt x="627082" y="674548"/>
                          </a:lnTo>
                          <a:close/>
                        </a:path>
                      </a:pathLst>
                    </a:custGeom>
                    <a:solidFill>
                      <a:schemeClr val="bg1"/>
                    </a:solidFill>
                    <a:ln w="2946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fr-FR"/>
                    </a:p>
                  </p:txBody>
                </p:sp>
                <p:sp>
                  <p:nvSpPr>
                    <p:cNvPr id="58" name="Forme libre : forme 35">
                      <a:extLst>
                        <a:ext uri="{FF2B5EF4-FFF2-40B4-BE49-F238E27FC236}">
                          <a16:creationId xmlns:a16="http://schemas.microsoft.com/office/drawing/2014/main" id="{991DB0A6-C5E5-500D-BEAF-D38AB9689EE6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2589564" y="3544562"/>
                      <a:ext cx="483504" cy="705798"/>
                    </a:xfrm>
                    <a:custGeom>
                      <a:avLst/>
                      <a:gdLst>
                        <a:gd name="connsiteX0" fmla="*/ 125004 w 483504"/>
                        <a:gd name="connsiteY0" fmla="*/ 0 h 705798"/>
                        <a:gd name="connsiteX1" fmla="*/ 483505 w 483504"/>
                        <a:gd name="connsiteY1" fmla="*/ 705799 h 705798"/>
                        <a:gd name="connsiteX2" fmla="*/ 438692 w 483504"/>
                        <a:gd name="connsiteY2" fmla="*/ 705799 h 705798"/>
                        <a:gd name="connsiteX3" fmla="*/ 0 w 483504"/>
                        <a:gd name="connsiteY3" fmla="*/ 31251 h 705798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</a:cxnLst>
                      <a:rect l="l" t="t" r="r" b="b"/>
                      <a:pathLst>
                        <a:path w="483504" h="705798">
                          <a:moveTo>
                            <a:pt x="125004" y="0"/>
                          </a:moveTo>
                          <a:lnTo>
                            <a:pt x="483505" y="705799"/>
                          </a:lnTo>
                          <a:lnTo>
                            <a:pt x="438692" y="705799"/>
                          </a:lnTo>
                          <a:lnTo>
                            <a:pt x="0" y="31251"/>
                          </a:lnTo>
                          <a:close/>
                        </a:path>
                      </a:pathLst>
                    </a:custGeom>
                    <a:solidFill>
                      <a:srgbClr val="0B9392"/>
                    </a:solidFill>
                    <a:ln w="2946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fr-FR"/>
                    </a:p>
                  </p:txBody>
                </p:sp>
              </p:grpSp>
            </p:grpSp>
            <p:sp>
              <p:nvSpPr>
                <p:cNvPr id="33" name="Forme libre : forme 13">
                  <a:extLst>
                    <a:ext uri="{FF2B5EF4-FFF2-40B4-BE49-F238E27FC236}">
                      <a16:creationId xmlns:a16="http://schemas.microsoft.com/office/drawing/2014/main" id="{7D5EE78B-D518-FF16-5105-5116FA497A84}"/>
                    </a:ext>
                  </a:extLst>
                </p:cNvPr>
                <p:cNvSpPr/>
                <p:nvPr/>
              </p:nvSpPr>
              <p:spPr>
                <a:xfrm>
                  <a:off x="981026" y="1717268"/>
                  <a:ext cx="2418112" cy="2418112"/>
                </a:xfrm>
                <a:custGeom>
                  <a:avLst/>
                  <a:gdLst>
                    <a:gd name="connsiteX0" fmla="*/ 2418113 w 2418112"/>
                    <a:gd name="connsiteY0" fmla="*/ 1209056 h 2418112"/>
                    <a:gd name="connsiteX1" fmla="*/ 1209056 w 2418112"/>
                    <a:gd name="connsiteY1" fmla="*/ 2418113 h 2418112"/>
                    <a:gd name="connsiteX2" fmla="*/ 0 w 2418112"/>
                    <a:gd name="connsiteY2" fmla="*/ 1209056 h 2418112"/>
                    <a:gd name="connsiteX3" fmla="*/ 1209056 w 2418112"/>
                    <a:gd name="connsiteY3" fmla="*/ 0 h 2418112"/>
                    <a:gd name="connsiteX4" fmla="*/ 2418113 w 2418112"/>
                    <a:gd name="connsiteY4" fmla="*/ 1209056 h 241811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2418112" h="2418112">
                      <a:moveTo>
                        <a:pt x="2418113" y="1209056"/>
                      </a:moveTo>
                      <a:cubicBezTo>
                        <a:pt x="2418113" y="1876800"/>
                        <a:pt x="1876800" y="2418113"/>
                        <a:pt x="1209056" y="2418113"/>
                      </a:cubicBezTo>
                      <a:cubicBezTo>
                        <a:pt x="541313" y="2418113"/>
                        <a:pt x="0" y="1876800"/>
                        <a:pt x="0" y="1209056"/>
                      </a:cubicBezTo>
                      <a:cubicBezTo>
                        <a:pt x="0" y="541313"/>
                        <a:pt x="541313" y="0"/>
                        <a:pt x="1209056" y="0"/>
                      </a:cubicBezTo>
                      <a:cubicBezTo>
                        <a:pt x="1876800" y="0"/>
                        <a:pt x="2418113" y="541313"/>
                        <a:pt x="2418113" y="1209056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 w="2946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fr-FR" dirty="0"/>
                </a:p>
              </p:txBody>
            </p:sp>
            <p:sp>
              <p:nvSpPr>
                <p:cNvPr id="34" name="Forme libre : forme 14">
                  <a:extLst>
                    <a:ext uri="{FF2B5EF4-FFF2-40B4-BE49-F238E27FC236}">
                      <a16:creationId xmlns:a16="http://schemas.microsoft.com/office/drawing/2014/main" id="{E75777E0-B583-2CD6-DAD9-173A6C60D7FE}"/>
                    </a:ext>
                  </a:extLst>
                </p:cNvPr>
                <p:cNvSpPr/>
                <p:nvPr/>
              </p:nvSpPr>
              <p:spPr>
                <a:xfrm>
                  <a:off x="1018763" y="1755005"/>
                  <a:ext cx="2342638" cy="2342639"/>
                </a:xfrm>
                <a:custGeom>
                  <a:avLst/>
                  <a:gdLst>
                    <a:gd name="connsiteX0" fmla="*/ 2342639 w 2342638"/>
                    <a:gd name="connsiteY0" fmla="*/ 1171320 h 2342639"/>
                    <a:gd name="connsiteX1" fmla="*/ 1171319 w 2342638"/>
                    <a:gd name="connsiteY1" fmla="*/ 2342639 h 2342639"/>
                    <a:gd name="connsiteX2" fmla="*/ 0 w 2342638"/>
                    <a:gd name="connsiteY2" fmla="*/ 1171320 h 2342639"/>
                    <a:gd name="connsiteX3" fmla="*/ 1171319 w 2342638"/>
                    <a:gd name="connsiteY3" fmla="*/ 0 h 2342639"/>
                    <a:gd name="connsiteX4" fmla="*/ 2342639 w 2342638"/>
                    <a:gd name="connsiteY4" fmla="*/ 1171320 h 234263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2342638" h="2342639">
                      <a:moveTo>
                        <a:pt x="2342639" y="1171320"/>
                      </a:moveTo>
                      <a:cubicBezTo>
                        <a:pt x="2342639" y="1818221"/>
                        <a:pt x="1818221" y="2342639"/>
                        <a:pt x="1171319" y="2342639"/>
                      </a:cubicBezTo>
                      <a:cubicBezTo>
                        <a:pt x="524417" y="2342639"/>
                        <a:pt x="0" y="1818221"/>
                        <a:pt x="0" y="1171320"/>
                      </a:cubicBezTo>
                      <a:cubicBezTo>
                        <a:pt x="0" y="524418"/>
                        <a:pt x="524417" y="0"/>
                        <a:pt x="1171319" y="0"/>
                      </a:cubicBezTo>
                      <a:cubicBezTo>
                        <a:pt x="1818221" y="0"/>
                        <a:pt x="2342639" y="524418"/>
                        <a:pt x="2342639" y="1171320"/>
                      </a:cubicBezTo>
                      <a:close/>
                    </a:path>
                  </a:pathLst>
                </a:custGeom>
                <a:solidFill>
                  <a:srgbClr val="098385"/>
                </a:solidFill>
                <a:ln w="2946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fr-FR"/>
                </a:p>
              </p:txBody>
            </p:sp>
            <p:sp>
              <p:nvSpPr>
                <p:cNvPr id="35" name="Forme libre : forme 15">
                  <a:extLst>
                    <a:ext uri="{FF2B5EF4-FFF2-40B4-BE49-F238E27FC236}">
                      <a16:creationId xmlns:a16="http://schemas.microsoft.com/office/drawing/2014/main" id="{2DD53EE6-2693-268C-21A1-8EBA416FBD56}"/>
                    </a:ext>
                  </a:extLst>
                </p:cNvPr>
                <p:cNvSpPr/>
                <p:nvPr/>
              </p:nvSpPr>
              <p:spPr>
                <a:xfrm>
                  <a:off x="1140524" y="1876766"/>
                  <a:ext cx="2099117" cy="2099117"/>
                </a:xfrm>
                <a:custGeom>
                  <a:avLst/>
                  <a:gdLst>
                    <a:gd name="connsiteX0" fmla="*/ 2099118 w 2099117"/>
                    <a:gd name="connsiteY0" fmla="*/ 1049559 h 2099117"/>
                    <a:gd name="connsiteX1" fmla="*/ 1049559 w 2099117"/>
                    <a:gd name="connsiteY1" fmla="*/ 2099118 h 2099117"/>
                    <a:gd name="connsiteX2" fmla="*/ 0 w 2099117"/>
                    <a:gd name="connsiteY2" fmla="*/ 1049559 h 2099117"/>
                    <a:gd name="connsiteX3" fmla="*/ 1049559 w 2099117"/>
                    <a:gd name="connsiteY3" fmla="*/ 0 h 2099117"/>
                    <a:gd name="connsiteX4" fmla="*/ 2099118 w 2099117"/>
                    <a:gd name="connsiteY4" fmla="*/ 1049559 h 209911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2099117" h="2099117">
                      <a:moveTo>
                        <a:pt x="2099118" y="1049559"/>
                      </a:moveTo>
                      <a:cubicBezTo>
                        <a:pt x="2099118" y="1629214"/>
                        <a:pt x="1629214" y="2099118"/>
                        <a:pt x="1049559" y="2099118"/>
                      </a:cubicBezTo>
                      <a:cubicBezTo>
                        <a:pt x="469904" y="2099118"/>
                        <a:pt x="0" y="1629214"/>
                        <a:pt x="0" y="1049559"/>
                      </a:cubicBezTo>
                      <a:cubicBezTo>
                        <a:pt x="0" y="469903"/>
                        <a:pt x="469904" y="0"/>
                        <a:pt x="1049559" y="0"/>
                      </a:cubicBezTo>
                      <a:cubicBezTo>
                        <a:pt x="1629214" y="0"/>
                        <a:pt x="2099118" y="469903"/>
                        <a:pt x="2099118" y="1049559"/>
                      </a:cubicBezTo>
                      <a:close/>
                    </a:path>
                  </a:pathLst>
                </a:custGeom>
                <a:solidFill>
                  <a:srgbClr val="0B9392"/>
                </a:solidFill>
                <a:ln w="2946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fr-FR"/>
                </a:p>
              </p:txBody>
            </p:sp>
            <p:sp>
              <p:nvSpPr>
                <p:cNvPr id="36" name="Forme libre : forme 16">
                  <a:extLst>
                    <a:ext uri="{FF2B5EF4-FFF2-40B4-BE49-F238E27FC236}">
                      <a16:creationId xmlns:a16="http://schemas.microsoft.com/office/drawing/2014/main" id="{A6BC82DC-86F8-B4E1-37A9-B958F9694196}"/>
                    </a:ext>
                  </a:extLst>
                </p:cNvPr>
                <p:cNvSpPr/>
                <p:nvPr/>
              </p:nvSpPr>
              <p:spPr>
                <a:xfrm>
                  <a:off x="1173544" y="1909786"/>
                  <a:ext cx="2033077" cy="2033078"/>
                </a:xfrm>
                <a:custGeom>
                  <a:avLst/>
                  <a:gdLst>
                    <a:gd name="connsiteX0" fmla="*/ 2033078 w 2033077"/>
                    <a:gd name="connsiteY0" fmla="*/ 1016539 h 2033078"/>
                    <a:gd name="connsiteX1" fmla="*/ 1016539 w 2033077"/>
                    <a:gd name="connsiteY1" fmla="*/ 2033078 h 2033078"/>
                    <a:gd name="connsiteX2" fmla="*/ 0 w 2033077"/>
                    <a:gd name="connsiteY2" fmla="*/ 1016539 h 2033078"/>
                    <a:gd name="connsiteX3" fmla="*/ 1016539 w 2033077"/>
                    <a:gd name="connsiteY3" fmla="*/ 0 h 2033078"/>
                    <a:gd name="connsiteX4" fmla="*/ 2033078 w 2033077"/>
                    <a:gd name="connsiteY4" fmla="*/ 1016539 h 20330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2033077" h="2033078">
                      <a:moveTo>
                        <a:pt x="2033078" y="1016539"/>
                      </a:moveTo>
                      <a:cubicBezTo>
                        <a:pt x="2033078" y="1577958"/>
                        <a:pt x="1577958" y="2033078"/>
                        <a:pt x="1016539" y="2033078"/>
                      </a:cubicBezTo>
                      <a:cubicBezTo>
                        <a:pt x="455120" y="2033078"/>
                        <a:pt x="0" y="1577958"/>
                        <a:pt x="0" y="1016539"/>
                      </a:cubicBezTo>
                      <a:cubicBezTo>
                        <a:pt x="0" y="455120"/>
                        <a:pt x="455120" y="0"/>
                        <a:pt x="1016539" y="0"/>
                      </a:cubicBezTo>
                      <a:cubicBezTo>
                        <a:pt x="1577958" y="0"/>
                        <a:pt x="2033078" y="455120"/>
                        <a:pt x="2033078" y="1016539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 w="2946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fr-FR"/>
                </a:p>
              </p:txBody>
            </p:sp>
            <p:sp>
              <p:nvSpPr>
                <p:cNvPr id="37" name="Forme libre : forme 17">
                  <a:extLst>
                    <a:ext uri="{FF2B5EF4-FFF2-40B4-BE49-F238E27FC236}">
                      <a16:creationId xmlns:a16="http://schemas.microsoft.com/office/drawing/2014/main" id="{049A2DA3-A7DE-D264-103D-E658D5155659}"/>
                    </a:ext>
                  </a:extLst>
                </p:cNvPr>
                <p:cNvSpPr/>
                <p:nvPr/>
              </p:nvSpPr>
              <p:spPr>
                <a:xfrm>
                  <a:off x="1173839" y="2127068"/>
                  <a:ext cx="1788377" cy="1815795"/>
                </a:xfrm>
                <a:custGeom>
                  <a:avLst/>
                  <a:gdLst>
                    <a:gd name="connsiteX0" fmla="*/ 1160706 w 1788377"/>
                    <a:gd name="connsiteY0" fmla="*/ 1677525 h 1815795"/>
                    <a:gd name="connsiteX1" fmla="*/ 144167 w 1788377"/>
                    <a:gd name="connsiteY1" fmla="*/ 660986 h 1815795"/>
                    <a:gd name="connsiteX2" fmla="*/ 388867 w 1788377"/>
                    <a:gd name="connsiteY2" fmla="*/ 0 h 1815795"/>
                    <a:gd name="connsiteX3" fmla="*/ 0 w 1788377"/>
                    <a:gd name="connsiteY3" fmla="*/ 799257 h 1815795"/>
                    <a:gd name="connsiteX4" fmla="*/ 1016539 w 1788377"/>
                    <a:gd name="connsiteY4" fmla="*/ 1815796 h 1815795"/>
                    <a:gd name="connsiteX5" fmla="*/ 1788377 w 1788377"/>
                    <a:gd name="connsiteY5" fmla="*/ 1460243 h 1815795"/>
                    <a:gd name="connsiteX6" fmla="*/ 1160706 w 1788377"/>
                    <a:gd name="connsiteY6" fmla="*/ 1677525 h 181579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788377" h="1815795">
                      <a:moveTo>
                        <a:pt x="1160706" y="1677525"/>
                      </a:moveTo>
                      <a:cubicBezTo>
                        <a:pt x="599369" y="1677525"/>
                        <a:pt x="144167" y="1222323"/>
                        <a:pt x="144167" y="660986"/>
                      </a:cubicBezTo>
                      <a:cubicBezTo>
                        <a:pt x="144167" y="408620"/>
                        <a:pt x="236445" y="177776"/>
                        <a:pt x="388867" y="0"/>
                      </a:cubicBezTo>
                      <a:cubicBezTo>
                        <a:pt x="152127" y="186031"/>
                        <a:pt x="0" y="474955"/>
                        <a:pt x="0" y="799257"/>
                      </a:cubicBezTo>
                      <a:cubicBezTo>
                        <a:pt x="0" y="1360594"/>
                        <a:pt x="455202" y="1815796"/>
                        <a:pt x="1016539" y="1815796"/>
                      </a:cubicBezTo>
                      <a:cubicBezTo>
                        <a:pt x="1325510" y="1815796"/>
                        <a:pt x="1602051" y="1677820"/>
                        <a:pt x="1788377" y="1460243"/>
                      </a:cubicBezTo>
                      <a:cubicBezTo>
                        <a:pt x="1615318" y="1596155"/>
                        <a:pt x="1397446" y="1677525"/>
                        <a:pt x="1160706" y="1677525"/>
                      </a:cubicBezTo>
                      <a:close/>
                    </a:path>
                  </a:pathLst>
                </a:custGeom>
                <a:solidFill>
                  <a:srgbClr val="EAE2D8"/>
                </a:solidFill>
                <a:ln w="2946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fr-FR"/>
                </a:p>
              </p:txBody>
            </p:sp>
            <p:grpSp>
              <p:nvGrpSpPr>
                <p:cNvPr id="38" name="Graphique 2">
                  <a:extLst>
                    <a:ext uri="{FF2B5EF4-FFF2-40B4-BE49-F238E27FC236}">
                      <a16:creationId xmlns:a16="http://schemas.microsoft.com/office/drawing/2014/main" id="{4FB4CF3C-553A-4581-53D9-594E0B09BB4D}"/>
                    </a:ext>
                  </a:extLst>
                </p:cNvPr>
                <p:cNvGrpSpPr/>
                <p:nvPr/>
              </p:nvGrpSpPr>
              <p:grpSpPr>
                <a:xfrm>
                  <a:off x="1233687" y="1970224"/>
                  <a:ext cx="1912791" cy="1912496"/>
                  <a:chOff x="1233687" y="1970224"/>
                  <a:chExt cx="1912791" cy="1912496"/>
                </a:xfrm>
                <a:solidFill>
                  <a:srgbClr val="07636C"/>
                </a:solidFill>
              </p:grpSpPr>
              <p:sp>
                <p:nvSpPr>
                  <p:cNvPr id="50" name="Forme libre : forme 28">
                    <a:extLst>
                      <a:ext uri="{FF2B5EF4-FFF2-40B4-BE49-F238E27FC236}">
                        <a16:creationId xmlns:a16="http://schemas.microsoft.com/office/drawing/2014/main" id="{2FBA356F-92B9-DC72-1FDB-68C9C6E6533B}"/>
                      </a:ext>
                    </a:extLst>
                  </p:cNvPr>
                  <p:cNvSpPr/>
                  <p:nvPr/>
                </p:nvSpPr>
                <p:spPr>
                  <a:xfrm>
                    <a:off x="2129940" y="1970224"/>
                    <a:ext cx="120286" cy="120286"/>
                  </a:xfrm>
                  <a:custGeom>
                    <a:avLst/>
                    <a:gdLst>
                      <a:gd name="connsiteX0" fmla="*/ 60143 w 120286"/>
                      <a:gd name="connsiteY0" fmla="*/ 120286 h 120286"/>
                      <a:gd name="connsiteX1" fmla="*/ 0 w 120286"/>
                      <a:gd name="connsiteY1" fmla="*/ 60143 h 120286"/>
                      <a:gd name="connsiteX2" fmla="*/ 60143 w 120286"/>
                      <a:gd name="connsiteY2" fmla="*/ 0 h 120286"/>
                      <a:gd name="connsiteX3" fmla="*/ 120286 w 120286"/>
                      <a:gd name="connsiteY3" fmla="*/ 60143 h 120286"/>
                      <a:gd name="connsiteX4" fmla="*/ 60143 w 120286"/>
                      <a:gd name="connsiteY4" fmla="*/ 120286 h 12028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120286" h="120286">
                        <a:moveTo>
                          <a:pt x="60143" y="120286"/>
                        </a:moveTo>
                        <a:cubicBezTo>
                          <a:pt x="27123" y="120286"/>
                          <a:pt x="0" y="93163"/>
                          <a:pt x="0" y="60143"/>
                        </a:cubicBezTo>
                        <a:cubicBezTo>
                          <a:pt x="0" y="27123"/>
                          <a:pt x="27123" y="0"/>
                          <a:pt x="60143" y="0"/>
                        </a:cubicBezTo>
                        <a:cubicBezTo>
                          <a:pt x="93163" y="0"/>
                          <a:pt x="120286" y="27123"/>
                          <a:pt x="120286" y="60143"/>
                        </a:cubicBezTo>
                        <a:cubicBezTo>
                          <a:pt x="120286" y="93163"/>
                          <a:pt x="93163" y="120286"/>
                          <a:pt x="60143" y="120286"/>
                        </a:cubicBezTo>
                        <a:close/>
                      </a:path>
                    </a:pathLst>
                  </a:custGeom>
                  <a:solidFill>
                    <a:srgbClr val="07636C"/>
                  </a:solidFill>
                  <a:ln w="2946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fr-FR"/>
                  </a:p>
                </p:txBody>
              </p:sp>
              <p:sp>
                <p:nvSpPr>
                  <p:cNvPr id="51" name="Forme libre : forme 29">
                    <a:extLst>
                      <a:ext uri="{FF2B5EF4-FFF2-40B4-BE49-F238E27FC236}">
                        <a16:creationId xmlns:a16="http://schemas.microsoft.com/office/drawing/2014/main" id="{730BC10B-5049-960E-654F-2C19D1FABAD6}"/>
                      </a:ext>
                    </a:extLst>
                  </p:cNvPr>
                  <p:cNvSpPr/>
                  <p:nvPr/>
                </p:nvSpPr>
                <p:spPr>
                  <a:xfrm>
                    <a:off x="1233687" y="2866182"/>
                    <a:ext cx="120286" cy="120286"/>
                  </a:xfrm>
                  <a:custGeom>
                    <a:avLst/>
                    <a:gdLst>
                      <a:gd name="connsiteX0" fmla="*/ 60143 w 120286"/>
                      <a:gd name="connsiteY0" fmla="*/ 120286 h 120286"/>
                      <a:gd name="connsiteX1" fmla="*/ 0 w 120286"/>
                      <a:gd name="connsiteY1" fmla="*/ 60143 h 120286"/>
                      <a:gd name="connsiteX2" fmla="*/ 60143 w 120286"/>
                      <a:gd name="connsiteY2" fmla="*/ 0 h 120286"/>
                      <a:gd name="connsiteX3" fmla="*/ 120286 w 120286"/>
                      <a:gd name="connsiteY3" fmla="*/ 60143 h 120286"/>
                      <a:gd name="connsiteX4" fmla="*/ 60143 w 120286"/>
                      <a:gd name="connsiteY4" fmla="*/ 120286 h 12028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120286" h="120286">
                        <a:moveTo>
                          <a:pt x="60143" y="120286"/>
                        </a:moveTo>
                        <a:cubicBezTo>
                          <a:pt x="27123" y="120286"/>
                          <a:pt x="0" y="93163"/>
                          <a:pt x="0" y="60143"/>
                        </a:cubicBezTo>
                        <a:cubicBezTo>
                          <a:pt x="0" y="27123"/>
                          <a:pt x="27123" y="0"/>
                          <a:pt x="60143" y="0"/>
                        </a:cubicBezTo>
                        <a:cubicBezTo>
                          <a:pt x="93163" y="0"/>
                          <a:pt x="120286" y="27123"/>
                          <a:pt x="120286" y="60143"/>
                        </a:cubicBezTo>
                        <a:cubicBezTo>
                          <a:pt x="120286" y="93163"/>
                          <a:pt x="93458" y="120286"/>
                          <a:pt x="60143" y="120286"/>
                        </a:cubicBezTo>
                        <a:close/>
                      </a:path>
                    </a:pathLst>
                  </a:custGeom>
                  <a:solidFill>
                    <a:srgbClr val="07636C"/>
                  </a:solidFill>
                  <a:ln w="2946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fr-FR"/>
                  </a:p>
                </p:txBody>
              </p:sp>
              <p:sp>
                <p:nvSpPr>
                  <p:cNvPr id="52" name="Forme libre : forme 30">
                    <a:extLst>
                      <a:ext uri="{FF2B5EF4-FFF2-40B4-BE49-F238E27FC236}">
                        <a16:creationId xmlns:a16="http://schemas.microsoft.com/office/drawing/2014/main" id="{B165A535-E12F-F40B-3B4F-23ABA4F2FA97}"/>
                      </a:ext>
                    </a:extLst>
                  </p:cNvPr>
                  <p:cNvSpPr/>
                  <p:nvPr/>
                </p:nvSpPr>
                <p:spPr>
                  <a:xfrm>
                    <a:off x="2129940" y="3762434"/>
                    <a:ext cx="120286" cy="120286"/>
                  </a:xfrm>
                  <a:custGeom>
                    <a:avLst/>
                    <a:gdLst>
                      <a:gd name="connsiteX0" fmla="*/ 60143 w 120286"/>
                      <a:gd name="connsiteY0" fmla="*/ 120287 h 120286"/>
                      <a:gd name="connsiteX1" fmla="*/ 0 w 120286"/>
                      <a:gd name="connsiteY1" fmla="*/ 60143 h 120286"/>
                      <a:gd name="connsiteX2" fmla="*/ 60143 w 120286"/>
                      <a:gd name="connsiteY2" fmla="*/ 0 h 120286"/>
                      <a:gd name="connsiteX3" fmla="*/ 120286 w 120286"/>
                      <a:gd name="connsiteY3" fmla="*/ 60143 h 120286"/>
                      <a:gd name="connsiteX4" fmla="*/ 60143 w 120286"/>
                      <a:gd name="connsiteY4" fmla="*/ 120287 h 12028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120286" h="120286">
                        <a:moveTo>
                          <a:pt x="60143" y="120287"/>
                        </a:moveTo>
                        <a:cubicBezTo>
                          <a:pt x="27123" y="120287"/>
                          <a:pt x="0" y="93163"/>
                          <a:pt x="0" y="60143"/>
                        </a:cubicBezTo>
                        <a:cubicBezTo>
                          <a:pt x="0" y="27123"/>
                          <a:pt x="27123" y="0"/>
                          <a:pt x="60143" y="0"/>
                        </a:cubicBezTo>
                        <a:cubicBezTo>
                          <a:pt x="93163" y="0"/>
                          <a:pt x="120286" y="27123"/>
                          <a:pt x="120286" y="60143"/>
                        </a:cubicBezTo>
                        <a:cubicBezTo>
                          <a:pt x="120286" y="93458"/>
                          <a:pt x="93163" y="120287"/>
                          <a:pt x="60143" y="120287"/>
                        </a:cubicBezTo>
                        <a:close/>
                      </a:path>
                    </a:pathLst>
                  </a:custGeom>
                  <a:solidFill>
                    <a:srgbClr val="07636C"/>
                  </a:solidFill>
                  <a:ln w="2946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fr-FR"/>
                  </a:p>
                </p:txBody>
              </p:sp>
              <p:sp>
                <p:nvSpPr>
                  <p:cNvPr id="53" name="Forme libre : forme 31">
                    <a:extLst>
                      <a:ext uri="{FF2B5EF4-FFF2-40B4-BE49-F238E27FC236}">
                        <a16:creationId xmlns:a16="http://schemas.microsoft.com/office/drawing/2014/main" id="{18BD2E8E-E67E-4710-B293-063650B95285}"/>
                      </a:ext>
                    </a:extLst>
                  </p:cNvPr>
                  <p:cNvSpPr/>
                  <p:nvPr/>
                </p:nvSpPr>
                <p:spPr>
                  <a:xfrm>
                    <a:off x="3026192" y="2866182"/>
                    <a:ext cx="120286" cy="120286"/>
                  </a:xfrm>
                  <a:custGeom>
                    <a:avLst/>
                    <a:gdLst>
                      <a:gd name="connsiteX0" fmla="*/ 60143 w 120286"/>
                      <a:gd name="connsiteY0" fmla="*/ 120286 h 120286"/>
                      <a:gd name="connsiteX1" fmla="*/ 0 w 120286"/>
                      <a:gd name="connsiteY1" fmla="*/ 60143 h 120286"/>
                      <a:gd name="connsiteX2" fmla="*/ 60143 w 120286"/>
                      <a:gd name="connsiteY2" fmla="*/ 0 h 120286"/>
                      <a:gd name="connsiteX3" fmla="*/ 120286 w 120286"/>
                      <a:gd name="connsiteY3" fmla="*/ 60143 h 120286"/>
                      <a:gd name="connsiteX4" fmla="*/ 60143 w 120286"/>
                      <a:gd name="connsiteY4" fmla="*/ 120286 h 12028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120286" h="120286">
                        <a:moveTo>
                          <a:pt x="60143" y="120286"/>
                        </a:moveTo>
                        <a:cubicBezTo>
                          <a:pt x="27123" y="120286"/>
                          <a:pt x="0" y="93163"/>
                          <a:pt x="0" y="60143"/>
                        </a:cubicBezTo>
                        <a:cubicBezTo>
                          <a:pt x="0" y="27123"/>
                          <a:pt x="27123" y="0"/>
                          <a:pt x="60143" y="0"/>
                        </a:cubicBezTo>
                        <a:cubicBezTo>
                          <a:pt x="93163" y="0"/>
                          <a:pt x="120286" y="27123"/>
                          <a:pt x="120286" y="60143"/>
                        </a:cubicBezTo>
                        <a:cubicBezTo>
                          <a:pt x="120286" y="93163"/>
                          <a:pt x="93163" y="120286"/>
                          <a:pt x="60143" y="120286"/>
                        </a:cubicBezTo>
                        <a:close/>
                      </a:path>
                    </a:pathLst>
                  </a:custGeom>
                  <a:solidFill>
                    <a:srgbClr val="07636C"/>
                  </a:solidFill>
                  <a:ln w="2946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fr-FR"/>
                  </a:p>
                </p:txBody>
              </p:sp>
            </p:grpSp>
            <p:grpSp>
              <p:nvGrpSpPr>
                <p:cNvPr id="39" name="Graphique 2">
                  <a:extLst>
                    <a:ext uri="{FF2B5EF4-FFF2-40B4-BE49-F238E27FC236}">
                      <a16:creationId xmlns:a16="http://schemas.microsoft.com/office/drawing/2014/main" id="{D86A66FD-6FEB-2129-AB2F-488A458F7411}"/>
                    </a:ext>
                  </a:extLst>
                </p:cNvPr>
                <p:cNvGrpSpPr/>
                <p:nvPr/>
              </p:nvGrpSpPr>
              <p:grpSpPr>
                <a:xfrm>
                  <a:off x="1371663" y="2108200"/>
                  <a:ext cx="1636545" cy="1636545"/>
                  <a:chOff x="1371663" y="2108200"/>
                  <a:chExt cx="1636545" cy="1636545"/>
                </a:xfrm>
                <a:solidFill>
                  <a:srgbClr val="0B9392"/>
                </a:solidFill>
              </p:grpSpPr>
              <p:sp>
                <p:nvSpPr>
                  <p:cNvPr id="40" name="Forme libre : forme 20">
                    <a:extLst>
                      <a:ext uri="{FF2B5EF4-FFF2-40B4-BE49-F238E27FC236}">
                        <a16:creationId xmlns:a16="http://schemas.microsoft.com/office/drawing/2014/main" id="{7F181A1D-0A40-BC76-2A53-B79F7885FF0E}"/>
                      </a:ext>
                    </a:extLst>
                  </p:cNvPr>
                  <p:cNvSpPr/>
                  <p:nvPr/>
                </p:nvSpPr>
                <p:spPr>
                  <a:xfrm>
                    <a:off x="1699797" y="2108200"/>
                    <a:ext cx="84318" cy="84318"/>
                  </a:xfrm>
                  <a:custGeom>
                    <a:avLst/>
                    <a:gdLst>
                      <a:gd name="connsiteX0" fmla="*/ 84318 w 84318"/>
                      <a:gd name="connsiteY0" fmla="*/ 42159 h 84318"/>
                      <a:gd name="connsiteX1" fmla="*/ 42159 w 84318"/>
                      <a:gd name="connsiteY1" fmla="*/ 84318 h 84318"/>
                      <a:gd name="connsiteX2" fmla="*/ 0 w 84318"/>
                      <a:gd name="connsiteY2" fmla="*/ 42159 h 84318"/>
                      <a:gd name="connsiteX3" fmla="*/ 42159 w 84318"/>
                      <a:gd name="connsiteY3" fmla="*/ 0 h 84318"/>
                      <a:gd name="connsiteX4" fmla="*/ 84318 w 84318"/>
                      <a:gd name="connsiteY4" fmla="*/ 42159 h 8431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84318" h="84318">
                        <a:moveTo>
                          <a:pt x="84318" y="42159"/>
                        </a:moveTo>
                        <a:cubicBezTo>
                          <a:pt x="84318" y="65443"/>
                          <a:pt x="65443" y="84318"/>
                          <a:pt x="42159" y="84318"/>
                        </a:cubicBezTo>
                        <a:cubicBezTo>
                          <a:pt x="18875" y="84318"/>
                          <a:pt x="0" y="65443"/>
                          <a:pt x="0" y="42159"/>
                        </a:cubicBezTo>
                        <a:cubicBezTo>
                          <a:pt x="0" y="18875"/>
                          <a:pt x="18875" y="0"/>
                          <a:pt x="42159" y="0"/>
                        </a:cubicBezTo>
                        <a:cubicBezTo>
                          <a:pt x="65443" y="0"/>
                          <a:pt x="84318" y="18875"/>
                          <a:pt x="84318" y="42159"/>
                        </a:cubicBezTo>
                        <a:close/>
                      </a:path>
                    </a:pathLst>
                  </a:custGeom>
                  <a:solidFill>
                    <a:srgbClr val="0B9392"/>
                  </a:solidFill>
                  <a:ln w="2946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fr-FR"/>
                  </a:p>
                </p:txBody>
              </p:sp>
              <p:sp>
                <p:nvSpPr>
                  <p:cNvPr id="41" name="Forme libre : forme 21">
                    <a:extLst>
                      <a:ext uri="{FF2B5EF4-FFF2-40B4-BE49-F238E27FC236}">
                        <a16:creationId xmlns:a16="http://schemas.microsoft.com/office/drawing/2014/main" id="{443B4533-BCCB-A3F4-FBBD-F1AF05BD4D3E}"/>
                      </a:ext>
                    </a:extLst>
                  </p:cNvPr>
                  <p:cNvSpPr/>
                  <p:nvPr/>
                </p:nvSpPr>
                <p:spPr>
                  <a:xfrm>
                    <a:off x="1371663" y="2436334"/>
                    <a:ext cx="84318" cy="84318"/>
                  </a:xfrm>
                  <a:custGeom>
                    <a:avLst/>
                    <a:gdLst>
                      <a:gd name="connsiteX0" fmla="*/ 84319 w 84318"/>
                      <a:gd name="connsiteY0" fmla="*/ 42159 h 84318"/>
                      <a:gd name="connsiteX1" fmla="*/ 42159 w 84318"/>
                      <a:gd name="connsiteY1" fmla="*/ 84318 h 84318"/>
                      <a:gd name="connsiteX2" fmla="*/ 0 w 84318"/>
                      <a:gd name="connsiteY2" fmla="*/ 42159 h 84318"/>
                      <a:gd name="connsiteX3" fmla="*/ 42159 w 84318"/>
                      <a:gd name="connsiteY3" fmla="*/ 0 h 84318"/>
                      <a:gd name="connsiteX4" fmla="*/ 84319 w 84318"/>
                      <a:gd name="connsiteY4" fmla="*/ 42159 h 8431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84318" h="84318">
                        <a:moveTo>
                          <a:pt x="84319" y="42159"/>
                        </a:moveTo>
                        <a:cubicBezTo>
                          <a:pt x="84319" y="65443"/>
                          <a:pt x="65443" y="84318"/>
                          <a:pt x="42159" y="84318"/>
                        </a:cubicBezTo>
                        <a:cubicBezTo>
                          <a:pt x="18875" y="84318"/>
                          <a:pt x="0" y="65443"/>
                          <a:pt x="0" y="42159"/>
                        </a:cubicBezTo>
                        <a:cubicBezTo>
                          <a:pt x="0" y="18875"/>
                          <a:pt x="18875" y="0"/>
                          <a:pt x="42159" y="0"/>
                        </a:cubicBezTo>
                        <a:cubicBezTo>
                          <a:pt x="65443" y="0"/>
                          <a:pt x="84319" y="18875"/>
                          <a:pt x="84319" y="42159"/>
                        </a:cubicBezTo>
                        <a:close/>
                      </a:path>
                    </a:pathLst>
                  </a:custGeom>
                  <a:solidFill>
                    <a:srgbClr val="0B9392"/>
                  </a:solidFill>
                  <a:ln w="2946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fr-FR"/>
                  </a:p>
                </p:txBody>
              </p:sp>
              <p:sp>
                <p:nvSpPr>
                  <p:cNvPr id="42" name="Forme libre : forme 22">
                    <a:extLst>
                      <a:ext uri="{FF2B5EF4-FFF2-40B4-BE49-F238E27FC236}">
                        <a16:creationId xmlns:a16="http://schemas.microsoft.com/office/drawing/2014/main" id="{E60F36E4-BAA3-7637-FC04-0AD347B43253}"/>
                      </a:ext>
                    </a:extLst>
                  </p:cNvPr>
                  <p:cNvSpPr/>
                  <p:nvPr/>
                </p:nvSpPr>
                <p:spPr>
                  <a:xfrm>
                    <a:off x="1371663" y="3332292"/>
                    <a:ext cx="84318" cy="84318"/>
                  </a:xfrm>
                  <a:custGeom>
                    <a:avLst/>
                    <a:gdLst>
                      <a:gd name="connsiteX0" fmla="*/ 84319 w 84318"/>
                      <a:gd name="connsiteY0" fmla="*/ 42159 h 84318"/>
                      <a:gd name="connsiteX1" fmla="*/ 42159 w 84318"/>
                      <a:gd name="connsiteY1" fmla="*/ 84319 h 84318"/>
                      <a:gd name="connsiteX2" fmla="*/ 0 w 84318"/>
                      <a:gd name="connsiteY2" fmla="*/ 42159 h 84318"/>
                      <a:gd name="connsiteX3" fmla="*/ 42159 w 84318"/>
                      <a:gd name="connsiteY3" fmla="*/ 0 h 84318"/>
                      <a:gd name="connsiteX4" fmla="*/ 84319 w 84318"/>
                      <a:gd name="connsiteY4" fmla="*/ 42159 h 8431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84318" h="84318">
                        <a:moveTo>
                          <a:pt x="84319" y="42159"/>
                        </a:moveTo>
                        <a:cubicBezTo>
                          <a:pt x="84319" y="65443"/>
                          <a:pt x="65443" y="84319"/>
                          <a:pt x="42159" y="84319"/>
                        </a:cubicBezTo>
                        <a:cubicBezTo>
                          <a:pt x="18875" y="84319"/>
                          <a:pt x="0" y="65443"/>
                          <a:pt x="0" y="42159"/>
                        </a:cubicBezTo>
                        <a:cubicBezTo>
                          <a:pt x="0" y="18876"/>
                          <a:pt x="18875" y="0"/>
                          <a:pt x="42159" y="0"/>
                        </a:cubicBezTo>
                        <a:cubicBezTo>
                          <a:pt x="65443" y="0"/>
                          <a:pt x="84319" y="18876"/>
                          <a:pt x="84319" y="42159"/>
                        </a:cubicBezTo>
                        <a:close/>
                      </a:path>
                    </a:pathLst>
                  </a:custGeom>
                  <a:solidFill>
                    <a:srgbClr val="0B9392"/>
                  </a:solidFill>
                  <a:ln w="2946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fr-FR"/>
                  </a:p>
                </p:txBody>
              </p:sp>
              <p:sp>
                <p:nvSpPr>
                  <p:cNvPr id="43" name="Forme libre : forme 23">
                    <a:extLst>
                      <a:ext uri="{FF2B5EF4-FFF2-40B4-BE49-F238E27FC236}">
                        <a16:creationId xmlns:a16="http://schemas.microsoft.com/office/drawing/2014/main" id="{5C9085DE-CB96-4EDE-24CB-BE543EF168C1}"/>
                      </a:ext>
                    </a:extLst>
                  </p:cNvPr>
                  <p:cNvSpPr/>
                  <p:nvPr/>
                </p:nvSpPr>
                <p:spPr>
                  <a:xfrm>
                    <a:off x="1699797" y="3660426"/>
                    <a:ext cx="84318" cy="84318"/>
                  </a:xfrm>
                  <a:custGeom>
                    <a:avLst/>
                    <a:gdLst>
                      <a:gd name="connsiteX0" fmla="*/ 84318 w 84318"/>
                      <a:gd name="connsiteY0" fmla="*/ 42159 h 84318"/>
                      <a:gd name="connsiteX1" fmla="*/ 42159 w 84318"/>
                      <a:gd name="connsiteY1" fmla="*/ 84319 h 84318"/>
                      <a:gd name="connsiteX2" fmla="*/ 0 w 84318"/>
                      <a:gd name="connsiteY2" fmla="*/ 42159 h 84318"/>
                      <a:gd name="connsiteX3" fmla="*/ 42159 w 84318"/>
                      <a:gd name="connsiteY3" fmla="*/ 0 h 84318"/>
                      <a:gd name="connsiteX4" fmla="*/ 84318 w 84318"/>
                      <a:gd name="connsiteY4" fmla="*/ 42159 h 8431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84318" h="84318">
                        <a:moveTo>
                          <a:pt x="84318" y="42159"/>
                        </a:moveTo>
                        <a:cubicBezTo>
                          <a:pt x="84318" y="65443"/>
                          <a:pt x="65443" y="84319"/>
                          <a:pt x="42159" y="84319"/>
                        </a:cubicBezTo>
                        <a:cubicBezTo>
                          <a:pt x="18875" y="84319"/>
                          <a:pt x="0" y="65443"/>
                          <a:pt x="0" y="42159"/>
                        </a:cubicBezTo>
                        <a:cubicBezTo>
                          <a:pt x="0" y="18875"/>
                          <a:pt x="18875" y="0"/>
                          <a:pt x="42159" y="0"/>
                        </a:cubicBezTo>
                        <a:cubicBezTo>
                          <a:pt x="65443" y="0"/>
                          <a:pt x="84318" y="18875"/>
                          <a:pt x="84318" y="42159"/>
                        </a:cubicBezTo>
                        <a:close/>
                      </a:path>
                    </a:pathLst>
                  </a:custGeom>
                  <a:solidFill>
                    <a:srgbClr val="0B9392"/>
                  </a:solidFill>
                  <a:ln w="2946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fr-FR"/>
                  </a:p>
                </p:txBody>
              </p:sp>
              <p:sp>
                <p:nvSpPr>
                  <p:cNvPr id="46" name="Forme libre : forme 24">
                    <a:extLst>
                      <a:ext uri="{FF2B5EF4-FFF2-40B4-BE49-F238E27FC236}">
                        <a16:creationId xmlns:a16="http://schemas.microsoft.com/office/drawing/2014/main" id="{2A3CB3D8-FEFD-EC06-669E-08652007DD77}"/>
                      </a:ext>
                    </a:extLst>
                  </p:cNvPr>
                  <p:cNvSpPr/>
                  <p:nvPr/>
                </p:nvSpPr>
                <p:spPr>
                  <a:xfrm>
                    <a:off x="2596050" y="3660426"/>
                    <a:ext cx="84318" cy="84318"/>
                  </a:xfrm>
                  <a:custGeom>
                    <a:avLst/>
                    <a:gdLst>
                      <a:gd name="connsiteX0" fmla="*/ 84319 w 84318"/>
                      <a:gd name="connsiteY0" fmla="*/ 42159 h 84318"/>
                      <a:gd name="connsiteX1" fmla="*/ 42159 w 84318"/>
                      <a:gd name="connsiteY1" fmla="*/ 84319 h 84318"/>
                      <a:gd name="connsiteX2" fmla="*/ 0 w 84318"/>
                      <a:gd name="connsiteY2" fmla="*/ 42159 h 84318"/>
                      <a:gd name="connsiteX3" fmla="*/ 42159 w 84318"/>
                      <a:gd name="connsiteY3" fmla="*/ 0 h 84318"/>
                      <a:gd name="connsiteX4" fmla="*/ 84319 w 84318"/>
                      <a:gd name="connsiteY4" fmla="*/ 42159 h 8431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84318" h="84318">
                        <a:moveTo>
                          <a:pt x="84319" y="42159"/>
                        </a:moveTo>
                        <a:cubicBezTo>
                          <a:pt x="84319" y="65443"/>
                          <a:pt x="65443" y="84319"/>
                          <a:pt x="42159" y="84319"/>
                        </a:cubicBezTo>
                        <a:cubicBezTo>
                          <a:pt x="18875" y="84319"/>
                          <a:pt x="0" y="65443"/>
                          <a:pt x="0" y="42159"/>
                        </a:cubicBezTo>
                        <a:cubicBezTo>
                          <a:pt x="0" y="18875"/>
                          <a:pt x="18875" y="0"/>
                          <a:pt x="42159" y="0"/>
                        </a:cubicBezTo>
                        <a:cubicBezTo>
                          <a:pt x="65443" y="0"/>
                          <a:pt x="84319" y="18875"/>
                          <a:pt x="84319" y="42159"/>
                        </a:cubicBezTo>
                        <a:close/>
                      </a:path>
                    </a:pathLst>
                  </a:custGeom>
                  <a:solidFill>
                    <a:srgbClr val="0B9392"/>
                  </a:solidFill>
                  <a:ln w="2946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fr-FR"/>
                  </a:p>
                </p:txBody>
              </p:sp>
              <p:sp>
                <p:nvSpPr>
                  <p:cNvPr id="47" name="Forme libre : forme 25">
                    <a:extLst>
                      <a:ext uri="{FF2B5EF4-FFF2-40B4-BE49-F238E27FC236}">
                        <a16:creationId xmlns:a16="http://schemas.microsoft.com/office/drawing/2014/main" id="{07573C03-67E5-6E51-2BFF-25D83E463DD4}"/>
                      </a:ext>
                    </a:extLst>
                  </p:cNvPr>
                  <p:cNvSpPr/>
                  <p:nvPr/>
                </p:nvSpPr>
                <p:spPr>
                  <a:xfrm>
                    <a:off x="2923890" y="3332292"/>
                    <a:ext cx="84318" cy="84318"/>
                  </a:xfrm>
                  <a:custGeom>
                    <a:avLst/>
                    <a:gdLst>
                      <a:gd name="connsiteX0" fmla="*/ 84319 w 84318"/>
                      <a:gd name="connsiteY0" fmla="*/ 42159 h 84318"/>
                      <a:gd name="connsiteX1" fmla="*/ 42159 w 84318"/>
                      <a:gd name="connsiteY1" fmla="*/ 84319 h 84318"/>
                      <a:gd name="connsiteX2" fmla="*/ 0 w 84318"/>
                      <a:gd name="connsiteY2" fmla="*/ 42159 h 84318"/>
                      <a:gd name="connsiteX3" fmla="*/ 42159 w 84318"/>
                      <a:gd name="connsiteY3" fmla="*/ 0 h 84318"/>
                      <a:gd name="connsiteX4" fmla="*/ 84319 w 84318"/>
                      <a:gd name="connsiteY4" fmla="*/ 42159 h 8431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84318" h="84318">
                        <a:moveTo>
                          <a:pt x="84319" y="42159"/>
                        </a:moveTo>
                        <a:cubicBezTo>
                          <a:pt x="84319" y="65443"/>
                          <a:pt x="65443" y="84319"/>
                          <a:pt x="42159" y="84319"/>
                        </a:cubicBezTo>
                        <a:cubicBezTo>
                          <a:pt x="18876" y="84319"/>
                          <a:pt x="0" y="65443"/>
                          <a:pt x="0" y="42159"/>
                        </a:cubicBezTo>
                        <a:cubicBezTo>
                          <a:pt x="0" y="18876"/>
                          <a:pt x="18876" y="0"/>
                          <a:pt x="42159" y="0"/>
                        </a:cubicBezTo>
                        <a:cubicBezTo>
                          <a:pt x="65443" y="0"/>
                          <a:pt x="84319" y="18876"/>
                          <a:pt x="84319" y="42159"/>
                        </a:cubicBezTo>
                        <a:close/>
                      </a:path>
                    </a:pathLst>
                  </a:custGeom>
                  <a:solidFill>
                    <a:srgbClr val="0B9392"/>
                  </a:solidFill>
                  <a:ln w="2946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fr-FR"/>
                  </a:p>
                </p:txBody>
              </p:sp>
              <p:sp>
                <p:nvSpPr>
                  <p:cNvPr id="48" name="Forme libre : forme 26">
                    <a:extLst>
                      <a:ext uri="{FF2B5EF4-FFF2-40B4-BE49-F238E27FC236}">
                        <a16:creationId xmlns:a16="http://schemas.microsoft.com/office/drawing/2014/main" id="{0B7FA1A8-6510-68E1-E100-4F8552643DE2}"/>
                      </a:ext>
                    </a:extLst>
                  </p:cNvPr>
                  <p:cNvSpPr/>
                  <p:nvPr/>
                </p:nvSpPr>
                <p:spPr>
                  <a:xfrm>
                    <a:off x="2923890" y="2436334"/>
                    <a:ext cx="84318" cy="84318"/>
                  </a:xfrm>
                  <a:custGeom>
                    <a:avLst/>
                    <a:gdLst>
                      <a:gd name="connsiteX0" fmla="*/ 84319 w 84318"/>
                      <a:gd name="connsiteY0" fmla="*/ 42159 h 84318"/>
                      <a:gd name="connsiteX1" fmla="*/ 42159 w 84318"/>
                      <a:gd name="connsiteY1" fmla="*/ 84318 h 84318"/>
                      <a:gd name="connsiteX2" fmla="*/ 0 w 84318"/>
                      <a:gd name="connsiteY2" fmla="*/ 42159 h 84318"/>
                      <a:gd name="connsiteX3" fmla="*/ 42159 w 84318"/>
                      <a:gd name="connsiteY3" fmla="*/ 0 h 84318"/>
                      <a:gd name="connsiteX4" fmla="*/ 84319 w 84318"/>
                      <a:gd name="connsiteY4" fmla="*/ 42159 h 8431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84318" h="84318">
                        <a:moveTo>
                          <a:pt x="84319" y="42159"/>
                        </a:moveTo>
                        <a:cubicBezTo>
                          <a:pt x="84319" y="65443"/>
                          <a:pt x="65443" y="84318"/>
                          <a:pt x="42159" y="84318"/>
                        </a:cubicBezTo>
                        <a:cubicBezTo>
                          <a:pt x="18876" y="84318"/>
                          <a:pt x="0" y="65443"/>
                          <a:pt x="0" y="42159"/>
                        </a:cubicBezTo>
                        <a:cubicBezTo>
                          <a:pt x="0" y="18875"/>
                          <a:pt x="18876" y="0"/>
                          <a:pt x="42159" y="0"/>
                        </a:cubicBezTo>
                        <a:cubicBezTo>
                          <a:pt x="65443" y="0"/>
                          <a:pt x="84319" y="18875"/>
                          <a:pt x="84319" y="42159"/>
                        </a:cubicBezTo>
                        <a:close/>
                      </a:path>
                    </a:pathLst>
                  </a:custGeom>
                  <a:solidFill>
                    <a:srgbClr val="0B9392"/>
                  </a:solidFill>
                  <a:ln w="2946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fr-FR"/>
                  </a:p>
                </p:txBody>
              </p:sp>
              <p:sp>
                <p:nvSpPr>
                  <p:cNvPr id="49" name="Forme libre : forme 27">
                    <a:extLst>
                      <a:ext uri="{FF2B5EF4-FFF2-40B4-BE49-F238E27FC236}">
                        <a16:creationId xmlns:a16="http://schemas.microsoft.com/office/drawing/2014/main" id="{524C67A8-6B12-4119-A6C6-299853CEFE04}"/>
                      </a:ext>
                    </a:extLst>
                  </p:cNvPr>
                  <p:cNvSpPr/>
                  <p:nvPr/>
                </p:nvSpPr>
                <p:spPr>
                  <a:xfrm>
                    <a:off x="2596050" y="2108200"/>
                    <a:ext cx="84318" cy="84318"/>
                  </a:xfrm>
                  <a:custGeom>
                    <a:avLst/>
                    <a:gdLst>
                      <a:gd name="connsiteX0" fmla="*/ 84319 w 84318"/>
                      <a:gd name="connsiteY0" fmla="*/ 42159 h 84318"/>
                      <a:gd name="connsiteX1" fmla="*/ 42159 w 84318"/>
                      <a:gd name="connsiteY1" fmla="*/ 84318 h 84318"/>
                      <a:gd name="connsiteX2" fmla="*/ 0 w 84318"/>
                      <a:gd name="connsiteY2" fmla="*/ 42159 h 84318"/>
                      <a:gd name="connsiteX3" fmla="*/ 42159 w 84318"/>
                      <a:gd name="connsiteY3" fmla="*/ 0 h 84318"/>
                      <a:gd name="connsiteX4" fmla="*/ 84319 w 84318"/>
                      <a:gd name="connsiteY4" fmla="*/ 42159 h 8431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84318" h="84318">
                        <a:moveTo>
                          <a:pt x="84319" y="42159"/>
                        </a:moveTo>
                        <a:cubicBezTo>
                          <a:pt x="84319" y="65443"/>
                          <a:pt x="65443" y="84318"/>
                          <a:pt x="42159" y="84318"/>
                        </a:cubicBezTo>
                        <a:cubicBezTo>
                          <a:pt x="18875" y="84318"/>
                          <a:pt x="0" y="65443"/>
                          <a:pt x="0" y="42159"/>
                        </a:cubicBezTo>
                        <a:cubicBezTo>
                          <a:pt x="0" y="18875"/>
                          <a:pt x="18875" y="0"/>
                          <a:pt x="42159" y="0"/>
                        </a:cubicBezTo>
                        <a:cubicBezTo>
                          <a:pt x="65443" y="0"/>
                          <a:pt x="84319" y="18875"/>
                          <a:pt x="84319" y="42159"/>
                        </a:cubicBezTo>
                        <a:close/>
                      </a:path>
                    </a:pathLst>
                  </a:custGeom>
                  <a:solidFill>
                    <a:srgbClr val="0B9392"/>
                  </a:solidFill>
                  <a:ln w="2946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fr-FR"/>
                  </a:p>
                </p:txBody>
              </p:sp>
            </p:grpSp>
          </p:grpSp>
          <p:sp>
            <p:nvSpPr>
              <p:cNvPr id="28" name="ZoneTexte 9">
                <a:extLst>
                  <a:ext uri="{FF2B5EF4-FFF2-40B4-BE49-F238E27FC236}">
                    <a16:creationId xmlns:a16="http://schemas.microsoft.com/office/drawing/2014/main" id="{87394DC1-2921-835A-D578-BB4DBC81803F}"/>
                  </a:ext>
                </a:extLst>
              </p:cNvPr>
              <p:cNvSpPr txBox="1"/>
              <p:nvPr/>
            </p:nvSpPr>
            <p:spPr>
              <a:xfrm>
                <a:off x="1349516" y="2029815"/>
                <a:ext cx="406114" cy="28271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 rtl="1"/>
                <a:r>
                  <a:rPr lang="ar-MA" sz="2000" b="1" dirty="0">
                    <a:solidFill>
                      <a:srgbClr val="005664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latin typeface="Microsoft Uighur" panose="02000000000000000000" pitchFamily="2" charset="-78"/>
                    <a:cs typeface="Microsoft Uighur" panose="02000000000000000000" pitchFamily="2" charset="-78"/>
                  </a:rPr>
                  <a:t>55</a:t>
                </a:r>
                <a:endParaRPr lang="fr-MA" sz="2000" b="1" dirty="0">
                  <a:solidFill>
                    <a:srgbClr val="005664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Microsoft Uighur" panose="02000000000000000000" pitchFamily="2" charset="-78"/>
                  <a:cs typeface="Microsoft Uighur" panose="02000000000000000000" pitchFamily="2" charset="-78"/>
                </a:endParaRPr>
              </a:p>
            </p:txBody>
          </p:sp>
          <p:sp>
            <p:nvSpPr>
              <p:cNvPr id="29" name="ZoneTexte 10">
                <a:extLst>
                  <a:ext uri="{FF2B5EF4-FFF2-40B4-BE49-F238E27FC236}">
                    <a16:creationId xmlns:a16="http://schemas.microsoft.com/office/drawing/2014/main" id="{CE79DBD5-C68D-8749-8453-DA192B457F07}"/>
                  </a:ext>
                </a:extLst>
              </p:cNvPr>
              <p:cNvSpPr txBox="1"/>
              <p:nvPr/>
            </p:nvSpPr>
            <p:spPr>
              <a:xfrm>
                <a:off x="1240960" y="2305858"/>
                <a:ext cx="625769" cy="32620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 rtl="1"/>
                <a:r>
                  <a:rPr lang="ar-MA" sz="2400" dirty="0">
                    <a:solidFill>
                      <a:schemeClr val="bg1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latin typeface="Calibri" panose="020F0502020204030204" pitchFamily="34" charset="0"/>
                    <a:ea typeface="Calibri" panose="020F0502020204030204" pitchFamily="34" charset="0"/>
                    <a:cs typeface="Calibri" panose="020F0502020204030204" pitchFamily="34" charset="0"/>
                  </a:rPr>
                  <a:t>دقيقة</a:t>
                </a:r>
                <a:endParaRPr lang="fr-MA" sz="2400" dirty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72276623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4" name="think-cell data - do not delete" hidden="1">
            <a:extLst>
              <a:ext uri="{FF2B5EF4-FFF2-40B4-BE49-F238E27FC236}">
                <a16:creationId xmlns:a16="http://schemas.microsoft.com/office/drawing/2014/main" id="{A5913DB5-F681-AADA-AA9B-503BB3C38E7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059" y="1059"/>
          <a:ext cx="1059" cy="105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4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913DB5-F681-AADA-AA9B-503BB3C38E7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059" y="1059"/>
                        <a:ext cx="1059" cy="105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reeform 2"/>
          <p:cNvSpPr/>
          <p:nvPr/>
        </p:nvSpPr>
        <p:spPr>
          <a:xfrm>
            <a:off x="0" y="0"/>
            <a:ext cx="9144000" cy="6858000"/>
          </a:xfrm>
          <a:custGeom>
            <a:avLst/>
            <a:gdLst/>
            <a:ahLst/>
            <a:cxnLst/>
            <a:rect l="l" t="t" r="r" b="b"/>
            <a:pathLst>
              <a:path w="18288000" h="10287000">
                <a:moveTo>
                  <a:pt x="0" y="0"/>
                </a:moveTo>
                <a:lnTo>
                  <a:pt x="18288000" y="0"/>
                </a:lnTo>
                <a:lnTo>
                  <a:pt x="18288000" y="10287000"/>
                </a:lnTo>
                <a:lnTo>
                  <a:pt x="0" y="10287000"/>
                </a:lnTo>
                <a:lnTo>
                  <a:pt x="0" y="0"/>
                </a:lnTo>
                <a:close/>
              </a:path>
            </a:pathLst>
          </a:custGeom>
          <a:blipFill>
            <a:blip r:embed="rId5"/>
            <a:stretch>
              <a:fillRect t="-5555" b="-5555"/>
            </a:stretch>
          </a:blipFill>
        </p:spPr>
        <p:txBody>
          <a:bodyPr/>
          <a:lstStyle/>
          <a:p>
            <a:pPr algn="just" defTabSz="457223"/>
            <a:endParaRPr lang="fr-MA" sz="900">
              <a:solidFill>
                <a:prstClr val="black"/>
              </a:solidFill>
              <a:latin typeface="Dosis" pitchFamily="2" charset="0"/>
            </a:endParaRPr>
          </a:p>
        </p:txBody>
      </p:sp>
      <p:grpSp>
        <p:nvGrpSpPr>
          <p:cNvPr id="3" name="Group 3"/>
          <p:cNvGrpSpPr/>
          <p:nvPr/>
        </p:nvGrpSpPr>
        <p:grpSpPr>
          <a:xfrm>
            <a:off x="254000" y="736600"/>
            <a:ext cx="8636000" cy="5596244"/>
            <a:chOff x="0" y="0"/>
            <a:chExt cx="3895412" cy="2555175"/>
          </a:xfrm>
        </p:grpSpPr>
        <p:sp>
          <p:nvSpPr>
            <p:cNvPr id="4" name="Freeform 4"/>
            <p:cNvSpPr/>
            <p:nvPr/>
          </p:nvSpPr>
          <p:spPr>
            <a:xfrm>
              <a:off x="0" y="0"/>
              <a:ext cx="3895412" cy="2555175"/>
            </a:xfrm>
            <a:custGeom>
              <a:avLst/>
              <a:gdLst/>
              <a:ahLst/>
              <a:cxnLst/>
              <a:rect l="l" t="t" r="r" b="b"/>
              <a:pathLst>
                <a:path w="3895412" h="2555175">
                  <a:moveTo>
                    <a:pt x="6703" y="0"/>
                  </a:moveTo>
                  <a:lnTo>
                    <a:pt x="3888710" y="0"/>
                  </a:lnTo>
                  <a:cubicBezTo>
                    <a:pt x="3892411" y="0"/>
                    <a:pt x="3895412" y="3001"/>
                    <a:pt x="3895412" y="6703"/>
                  </a:cubicBezTo>
                  <a:lnTo>
                    <a:pt x="3895412" y="2548473"/>
                  </a:lnTo>
                  <a:cubicBezTo>
                    <a:pt x="3895412" y="2550250"/>
                    <a:pt x="3894706" y="2551955"/>
                    <a:pt x="3893449" y="2553212"/>
                  </a:cubicBezTo>
                  <a:cubicBezTo>
                    <a:pt x="3892192" y="2554469"/>
                    <a:pt x="3890487" y="2555175"/>
                    <a:pt x="3888710" y="2555175"/>
                  </a:cubicBezTo>
                  <a:lnTo>
                    <a:pt x="6703" y="2555175"/>
                  </a:lnTo>
                  <a:cubicBezTo>
                    <a:pt x="4925" y="2555175"/>
                    <a:pt x="3220" y="2554469"/>
                    <a:pt x="1963" y="2553212"/>
                  </a:cubicBezTo>
                  <a:cubicBezTo>
                    <a:pt x="706" y="2551955"/>
                    <a:pt x="0" y="2550250"/>
                    <a:pt x="0" y="2548473"/>
                  </a:cubicBezTo>
                  <a:lnTo>
                    <a:pt x="0" y="6703"/>
                  </a:lnTo>
                  <a:cubicBezTo>
                    <a:pt x="0" y="4925"/>
                    <a:pt x="706" y="3220"/>
                    <a:pt x="1963" y="1963"/>
                  </a:cubicBezTo>
                  <a:cubicBezTo>
                    <a:pt x="3220" y="706"/>
                    <a:pt x="4925" y="0"/>
                    <a:pt x="6703" y="0"/>
                  </a:cubicBezTo>
                  <a:close/>
                </a:path>
              </a:pathLst>
            </a:custGeom>
            <a:solidFill>
              <a:srgbClr val="FFFFFF"/>
            </a:solidFill>
            <a:ln w="19050">
              <a:solidFill>
                <a:srgbClr val="000000"/>
              </a:solidFill>
            </a:ln>
          </p:spPr>
          <p:txBody>
            <a:bodyPr/>
            <a:lstStyle/>
            <a:p>
              <a:pPr algn="just" defTabSz="457223"/>
              <a:endParaRPr lang="fr-MA" sz="900">
                <a:solidFill>
                  <a:srgbClr val="106585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5" name="TextBox 5"/>
            <p:cNvSpPr txBox="1"/>
            <p:nvPr/>
          </p:nvSpPr>
          <p:spPr>
            <a:xfrm>
              <a:off x="0" y="-47625"/>
              <a:ext cx="812800" cy="860425"/>
            </a:xfrm>
            <a:prstGeom prst="rect">
              <a:avLst/>
            </a:prstGeom>
          </p:spPr>
          <p:txBody>
            <a:bodyPr lIns="25400" tIns="25400" rIns="25400" bIns="25400" rtlCol="0" anchor="ctr"/>
            <a:lstStyle/>
            <a:p>
              <a:pPr algn="just" defTabSz="457223">
                <a:lnSpc>
                  <a:spcPts val="1605"/>
                </a:lnSpc>
              </a:pPr>
              <a:endParaRPr sz="900">
                <a:solidFill>
                  <a:srgbClr val="106585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sp>
        <p:nvSpPr>
          <p:cNvPr id="7" name="Freeform 7"/>
          <p:cNvSpPr/>
          <p:nvPr/>
        </p:nvSpPr>
        <p:spPr>
          <a:xfrm>
            <a:off x="8077201" y="294200"/>
            <a:ext cx="619583" cy="594800"/>
          </a:xfrm>
          <a:custGeom>
            <a:avLst/>
            <a:gdLst/>
            <a:ahLst/>
            <a:cxnLst/>
            <a:rect l="l" t="t" r="r" b="b"/>
            <a:pathLst>
              <a:path w="1239167" h="1189600">
                <a:moveTo>
                  <a:pt x="0" y="0"/>
                </a:moveTo>
                <a:lnTo>
                  <a:pt x="1239167" y="0"/>
                </a:lnTo>
                <a:lnTo>
                  <a:pt x="1239167" y="1189600"/>
                </a:lnTo>
                <a:lnTo>
                  <a:pt x="0" y="1189600"/>
                </a:lnTo>
                <a:lnTo>
                  <a:pt x="0" y="0"/>
                </a:lnTo>
                <a:close/>
              </a:path>
            </a:pathLst>
          </a:custGeom>
          <a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algn="just" defTabSz="457223"/>
            <a:endParaRPr lang="fr-MA" sz="900">
              <a:solidFill>
                <a:prstClr val="black"/>
              </a:solidFill>
              <a:latin typeface="Dosis" pitchFamily="2" charset="0"/>
            </a:endParaRPr>
          </a:p>
        </p:txBody>
      </p:sp>
      <p:sp>
        <p:nvSpPr>
          <p:cNvPr id="45" name="ZoneTexte 5">
            <a:extLst>
              <a:ext uri="{FF2B5EF4-FFF2-40B4-BE49-F238E27FC236}">
                <a16:creationId xmlns:a16="http://schemas.microsoft.com/office/drawing/2014/main" id="{ABA2A6A3-1EDB-77CA-044F-205840F96C09}"/>
              </a:ext>
            </a:extLst>
          </p:cNvPr>
          <p:cNvSpPr txBox="1"/>
          <p:nvPr/>
        </p:nvSpPr>
        <p:spPr>
          <a:xfrm>
            <a:off x="-76199" y="365553"/>
            <a:ext cx="175259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ar-MA" sz="1600" i="1">
                <a:solidFill>
                  <a:schemeClr val="tx1">
                    <a:lumMod val="50000"/>
                    <a:lumOff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خاص بالأستاذ</a:t>
            </a:r>
            <a:endParaRPr lang="fr-MA" sz="1600" i="1">
              <a:solidFill>
                <a:schemeClr val="tx1">
                  <a:lumMod val="50000"/>
                  <a:lumOff val="50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3D21DB1C-D298-6B57-4318-C68FD8DCE947}"/>
              </a:ext>
            </a:extLst>
          </p:cNvPr>
          <p:cNvSpPr txBox="1"/>
          <p:nvPr/>
        </p:nvSpPr>
        <p:spPr>
          <a:xfrm>
            <a:off x="1359139" y="2144323"/>
            <a:ext cx="6164669" cy="50276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rtl="1">
              <a:spcAft>
                <a:spcPts val="600"/>
              </a:spcAft>
            </a:pPr>
            <a:r>
              <a:rPr lang="ar-MA" sz="2400" b="1" kern="0">
                <a:solidFill>
                  <a:srgbClr val="106585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على الأقل </a:t>
            </a:r>
            <a:r>
              <a:rPr lang="fr-FR" sz="2400" b="1" kern="0">
                <a:solidFill>
                  <a:srgbClr val="106585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80%</a:t>
            </a:r>
            <a:r>
              <a:rPr lang="ar-MA" sz="2400" b="1" kern="0">
                <a:solidFill>
                  <a:srgbClr val="106585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من المتعلمين سيكونون قادرين على</a:t>
            </a:r>
            <a:r>
              <a:rPr lang="en-GB" sz="2667" b="1" kern="0">
                <a:solidFill>
                  <a:srgbClr val="106585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:</a:t>
            </a:r>
            <a:endParaRPr lang="fr-FR" sz="2667" b="1" kern="0">
              <a:solidFill>
                <a:srgbClr val="106585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9D6A3147-0DFC-AF15-491E-F043AF0F253C}"/>
              </a:ext>
            </a:extLst>
          </p:cNvPr>
          <p:cNvSpPr/>
          <p:nvPr/>
        </p:nvSpPr>
        <p:spPr>
          <a:xfrm>
            <a:off x="7162800" y="3392282"/>
            <a:ext cx="361008" cy="349749"/>
          </a:xfrm>
          <a:prstGeom prst="ellipse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/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CD14C045-02D3-7077-7653-8FE29C9975B9}"/>
              </a:ext>
            </a:extLst>
          </p:cNvPr>
          <p:cNvSpPr/>
          <p:nvPr/>
        </p:nvSpPr>
        <p:spPr>
          <a:xfrm>
            <a:off x="774065" y="2713070"/>
            <a:ext cx="7560840" cy="2698745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  <a:ln>
            <a:solidFill>
              <a:srgbClr val="F2F2F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/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044A9ABB-B6D8-B950-929F-5A5DA55A0CFC}"/>
              </a:ext>
            </a:extLst>
          </p:cNvPr>
          <p:cNvCxnSpPr>
            <a:cxnSpLocks/>
          </p:cNvCxnSpPr>
          <p:nvPr/>
        </p:nvCxnSpPr>
        <p:spPr>
          <a:xfrm>
            <a:off x="1335999" y="3483864"/>
            <a:ext cx="6015949" cy="0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16">
            <a:extLst>
              <a:ext uri="{FF2B5EF4-FFF2-40B4-BE49-F238E27FC236}">
                <a16:creationId xmlns:a16="http://schemas.microsoft.com/office/drawing/2014/main" id="{96D4D483-5B07-B4C2-3F60-E0B712665810}"/>
              </a:ext>
            </a:extLst>
          </p:cNvPr>
          <p:cNvCxnSpPr>
            <a:cxnSpLocks/>
          </p:cNvCxnSpPr>
          <p:nvPr/>
        </p:nvCxnSpPr>
        <p:spPr>
          <a:xfrm>
            <a:off x="1335999" y="4378440"/>
            <a:ext cx="6007305" cy="0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ZoneTexte 11">
            <a:extLst>
              <a:ext uri="{FF2B5EF4-FFF2-40B4-BE49-F238E27FC236}">
                <a16:creationId xmlns:a16="http://schemas.microsoft.com/office/drawing/2014/main" id="{06969316-D502-BE78-1B94-FE9FEFDCBF13}"/>
              </a:ext>
            </a:extLst>
          </p:cNvPr>
          <p:cNvSpPr txBox="1"/>
          <p:nvPr/>
        </p:nvSpPr>
        <p:spPr>
          <a:xfrm>
            <a:off x="5544688" y="5614918"/>
            <a:ext cx="1374124" cy="568361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 algn="r" rtl="1">
              <a:lnSpc>
                <a:spcPct val="150000"/>
              </a:lnSpc>
              <a:spcAft>
                <a:spcPts val="600"/>
              </a:spcAft>
            </a:pPr>
            <a:r>
              <a:rPr lang="ar-MA" sz="2300" b="1" kern="0" dirty="0">
                <a:solidFill>
                  <a:srgbClr val="2D376D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الكفايات:</a:t>
            </a:r>
          </a:p>
        </p:txBody>
      </p:sp>
      <p:grpSp>
        <p:nvGrpSpPr>
          <p:cNvPr id="11" name="Groupe 10">
            <a:extLst>
              <a:ext uri="{FF2B5EF4-FFF2-40B4-BE49-F238E27FC236}">
                <a16:creationId xmlns:a16="http://schemas.microsoft.com/office/drawing/2014/main" id="{D33DD05B-C959-42B9-68AF-007E34EB1753}"/>
              </a:ext>
            </a:extLst>
          </p:cNvPr>
          <p:cNvGrpSpPr/>
          <p:nvPr/>
        </p:nvGrpSpPr>
        <p:grpSpPr>
          <a:xfrm>
            <a:off x="809095" y="3586352"/>
            <a:ext cx="7365416" cy="568361"/>
            <a:chOff x="809095" y="3586352"/>
            <a:chExt cx="7365416" cy="568361"/>
          </a:xfrm>
        </p:grpSpPr>
        <p:sp>
          <p:nvSpPr>
            <p:cNvPr id="8" name="ZoneTexte 11">
              <a:extLst>
                <a:ext uri="{FF2B5EF4-FFF2-40B4-BE49-F238E27FC236}">
                  <a16:creationId xmlns:a16="http://schemas.microsoft.com/office/drawing/2014/main" id="{407B291E-39AB-ED59-91BB-808EBC9ED614}"/>
                </a:ext>
              </a:extLst>
            </p:cNvPr>
            <p:cNvSpPr txBox="1"/>
            <p:nvPr/>
          </p:nvSpPr>
          <p:spPr>
            <a:xfrm>
              <a:off x="809095" y="3586352"/>
              <a:ext cx="6597397" cy="568361"/>
            </a:xfrm>
            <a:prstGeom prst="rect">
              <a:avLst/>
            </a:prstGeom>
          </p:spPr>
          <p:txBody>
            <a:bodyPr wrap="square" rtlCol="0">
              <a:spAutoFit/>
            </a:bodyPr>
            <a:lstStyle/>
            <a:p>
              <a:pPr algn="r" rtl="1">
                <a:lnSpc>
                  <a:spcPct val="150000"/>
                </a:lnSpc>
                <a:spcAft>
                  <a:spcPts val="600"/>
                </a:spcAft>
              </a:pPr>
              <a:r>
                <a:rPr lang="ar-MA" sz="2300" b="1" kern="0" dirty="0">
                  <a:solidFill>
                    <a:srgbClr val="2D376D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قراءة وكتابة الأعداد من 1 إلى 5 بالأرقام؛</a:t>
              </a:r>
            </a:p>
          </p:txBody>
        </p:sp>
        <p:sp>
          <p:nvSpPr>
            <p:cNvPr id="13" name="Oval 23">
              <a:extLst>
                <a:ext uri="{FF2B5EF4-FFF2-40B4-BE49-F238E27FC236}">
                  <a16:creationId xmlns:a16="http://schemas.microsoft.com/office/drawing/2014/main" id="{5F88AF1A-95D1-84DD-3E0D-DB062E49B187}"/>
                </a:ext>
              </a:extLst>
            </p:cNvPr>
            <p:cNvSpPr/>
            <p:nvPr/>
          </p:nvSpPr>
          <p:spPr>
            <a:xfrm>
              <a:off x="7748852" y="3742031"/>
              <a:ext cx="361008" cy="349749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5" name="Oval 86">
              <a:extLst>
                <a:ext uri="{FF2B5EF4-FFF2-40B4-BE49-F238E27FC236}">
                  <a16:creationId xmlns:a16="http://schemas.microsoft.com/office/drawing/2014/main" id="{C1A55318-BF3B-086B-4E68-DA4D9431011C}"/>
                </a:ext>
              </a:extLst>
            </p:cNvPr>
            <p:cNvSpPr/>
            <p:nvPr/>
          </p:nvSpPr>
          <p:spPr>
            <a:xfrm flipH="1">
              <a:off x="7731967" y="3731341"/>
              <a:ext cx="387758" cy="376435"/>
            </a:xfrm>
            <a:prstGeom prst="ellipse">
              <a:avLst/>
            </a:prstGeom>
            <a:solidFill>
              <a:srgbClr val="005664"/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spcBef>
                  <a:spcPts val="0"/>
                </a:spcBef>
                <a:buClrTx/>
                <a:buSzTx/>
                <a:buFontTx/>
                <a:buNone/>
                <a:tabLst/>
                <a:defRPr/>
              </a:pPr>
              <a:endPara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endParaRPr>
            </a:p>
          </p:txBody>
        </p:sp>
        <p:pic>
          <p:nvPicPr>
            <p:cNvPr id="16" name="Graphique 25">
              <a:extLst>
                <a:ext uri="{FF2B5EF4-FFF2-40B4-BE49-F238E27FC236}">
                  <a16:creationId xmlns:a16="http://schemas.microsoft.com/office/drawing/2014/main" id="{1C1663B9-24DF-1905-A2AC-FE267FB6EAF0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7822415" y="3742031"/>
              <a:ext cx="352096" cy="272874"/>
            </a:xfrm>
            <a:prstGeom prst="rect">
              <a:avLst/>
            </a:prstGeom>
          </p:spPr>
        </p:pic>
      </p:grpSp>
      <p:sp>
        <p:nvSpPr>
          <p:cNvPr id="20" name="Rectangle : coins arrondis 95">
            <a:extLst>
              <a:ext uri="{FF2B5EF4-FFF2-40B4-BE49-F238E27FC236}">
                <a16:creationId xmlns:a16="http://schemas.microsoft.com/office/drawing/2014/main" id="{7FD4728D-BE47-BDCD-93F3-1FE2DF50937C}"/>
              </a:ext>
            </a:extLst>
          </p:cNvPr>
          <p:cNvSpPr/>
          <p:nvPr/>
        </p:nvSpPr>
        <p:spPr>
          <a:xfrm flipH="1" flipV="1">
            <a:off x="1737456" y="1415815"/>
            <a:ext cx="5614492" cy="532201"/>
          </a:xfrm>
          <a:prstGeom prst="roundRect">
            <a:avLst>
              <a:gd name="adj" fmla="val 50000"/>
            </a:avLst>
          </a:prstGeom>
          <a:solidFill>
            <a:srgbClr val="2B7589"/>
          </a:solidFill>
          <a:ln w="13658" cap="flat">
            <a:solidFill>
              <a:srgbClr val="005664"/>
            </a:solidFill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sz="3600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ir Strip Arabic" panose="02000500000000000000" pitchFamily="2" charset="-78"/>
              <a:cs typeface="Air Strip Arabic" panose="02000500000000000000" pitchFamily="2" charset="-78"/>
            </a:endParaRPr>
          </a:p>
        </p:txBody>
      </p:sp>
      <p:sp>
        <p:nvSpPr>
          <p:cNvPr id="21" name="TextBox 13">
            <a:extLst>
              <a:ext uri="{FF2B5EF4-FFF2-40B4-BE49-F238E27FC236}">
                <a16:creationId xmlns:a16="http://schemas.microsoft.com/office/drawing/2014/main" id="{B610CEB8-8CDB-4E72-5A63-7913735BA8CF}"/>
              </a:ext>
            </a:extLst>
          </p:cNvPr>
          <p:cNvSpPr txBox="1"/>
          <p:nvPr/>
        </p:nvSpPr>
        <p:spPr>
          <a:xfrm>
            <a:off x="1620192" y="1539426"/>
            <a:ext cx="6164669" cy="6765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ts val="2075"/>
              </a:lnSpc>
            </a:pPr>
            <a:r>
              <a:rPr lang="ar-MA" sz="3334" b="1" kern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عند نهاية الحصة</a:t>
            </a:r>
          </a:p>
          <a:p>
            <a:pPr algn="ctr">
              <a:lnSpc>
                <a:spcPts val="2075"/>
              </a:lnSpc>
            </a:pPr>
            <a:r>
              <a:rPr lang="ar-MA" sz="3334" b="1" kern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endParaRPr lang="fr-FR" sz="3334" b="1" kern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grpSp>
        <p:nvGrpSpPr>
          <p:cNvPr id="14" name="Groupe 13">
            <a:extLst>
              <a:ext uri="{FF2B5EF4-FFF2-40B4-BE49-F238E27FC236}">
                <a16:creationId xmlns:a16="http://schemas.microsoft.com/office/drawing/2014/main" id="{2467F956-C701-191B-8EF5-35CE0B754F4B}"/>
              </a:ext>
            </a:extLst>
          </p:cNvPr>
          <p:cNvGrpSpPr/>
          <p:nvPr/>
        </p:nvGrpSpPr>
        <p:grpSpPr>
          <a:xfrm>
            <a:off x="801430" y="2823088"/>
            <a:ext cx="7365416" cy="568361"/>
            <a:chOff x="809095" y="3586352"/>
            <a:chExt cx="7365416" cy="568361"/>
          </a:xfrm>
        </p:grpSpPr>
        <p:sp>
          <p:nvSpPr>
            <p:cNvPr id="22" name="ZoneTexte 11">
              <a:extLst>
                <a:ext uri="{FF2B5EF4-FFF2-40B4-BE49-F238E27FC236}">
                  <a16:creationId xmlns:a16="http://schemas.microsoft.com/office/drawing/2014/main" id="{6E46A951-BEFF-0552-93CF-989A98F21CD7}"/>
                </a:ext>
              </a:extLst>
            </p:cNvPr>
            <p:cNvSpPr txBox="1"/>
            <p:nvPr/>
          </p:nvSpPr>
          <p:spPr>
            <a:xfrm>
              <a:off x="809095" y="3586352"/>
              <a:ext cx="6597397" cy="568361"/>
            </a:xfrm>
            <a:prstGeom prst="rect">
              <a:avLst/>
            </a:prstGeom>
          </p:spPr>
          <p:txBody>
            <a:bodyPr wrap="square" rtlCol="0">
              <a:spAutoFit/>
            </a:bodyPr>
            <a:lstStyle/>
            <a:p>
              <a:pPr algn="r" rtl="1">
                <a:lnSpc>
                  <a:spcPct val="150000"/>
                </a:lnSpc>
                <a:spcAft>
                  <a:spcPts val="600"/>
                </a:spcAft>
              </a:pPr>
              <a:r>
                <a:rPr lang="ar-MA" sz="2300" b="1" kern="0" dirty="0">
                  <a:solidFill>
                    <a:srgbClr val="2D376D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عد عناصر مجموعة من 1 إلى 5؛</a:t>
              </a:r>
            </a:p>
          </p:txBody>
        </p:sp>
        <p:sp>
          <p:nvSpPr>
            <p:cNvPr id="23" name="Oval 23">
              <a:extLst>
                <a:ext uri="{FF2B5EF4-FFF2-40B4-BE49-F238E27FC236}">
                  <a16:creationId xmlns:a16="http://schemas.microsoft.com/office/drawing/2014/main" id="{9B80F9B3-C664-B4D7-BC1C-A286BD2D8928}"/>
                </a:ext>
              </a:extLst>
            </p:cNvPr>
            <p:cNvSpPr/>
            <p:nvPr/>
          </p:nvSpPr>
          <p:spPr>
            <a:xfrm>
              <a:off x="7748852" y="3742031"/>
              <a:ext cx="361008" cy="349749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4" name="Oval 86">
              <a:extLst>
                <a:ext uri="{FF2B5EF4-FFF2-40B4-BE49-F238E27FC236}">
                  <a16:creationId xmlns:a16="http://schemas.microsoft.com/office/drawing/2014/main" id="{23C69528-2A60-8D07-E977-AB3649EA8AAA}"/>
                </a:ext>
              </a:extLst>
            </p:cNvPr>
            <p:cNvSpPr/>
            <p:nvPr/>
          </p:nvSpPr>
          <p:spPr>
            <a:xfrm flipH="1">
              <a:off x="7731967" y="3731341"/>
              <a:ext cx="387758" cy="376435"/>
            </a:xfrm>
            <a:prstGeom prst="ellipse">
              <a:avLst/>
            </a:prstGeom>
            <a:solidFill>
              <a:srgbClr val="005664"/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spcBef>
                  <a:spcPts val="0"/>
                </a:spcBef>
                <a:buClrTx/>
                <a:buSzTx/>
                <a:buFontTx/>
                <a:buNone/>
                <a:tabLst/>
                <a:defRPr/>
              </a:pPr>
              <a:endPara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endParaRPr>
            </a:p>
          </p:txBody>
        </p:sp>
        <p:pic>
          <p:nvPicPr>
            <p:cNvPr id="25" name="Graphique 25">
              <a:extLst>
                <a:ext uri="{FF2B5EF4-FFF2-40B4-BE49-F238E27FC236}">
                  <a16:creationId xmlns:a16="http://schemas.microsoft.com/office/drawing/2014/main" id="{33672343-7570-4C5A-F0EA-72F21B30E80C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7822415" y="3742031"/>
              <a:ext cx="352096" cy="272874"/>
            </a:xfrm>
            <a:prstGeom prst="rect">
              <a:avLst/>
            </a:prstGeom>
          </p:spPr>
        </p:pic>
      </p:grpSp>
      <p:grpSp>
        <p:nvGrpSpPr>
          <p:cNvPr id="26" name="Groupe 25">
            <a:extLst>
              <a:ext uri="{FF2B5EF4-FFF2-40B4-BE49-F238E27FC236}">
                <a16:creationId xmlns:a16="http://schemas.microsoft.com/office/drawing/2014/main" id="{DAF46B53-845D-8879-7F89-A3031FA9DA76}"/>
              </a:ext>
            </a:extLst>
          </p:cNvPr>
          <p:cNvGrpSpPr/>
          <p:nvPr/>
        </p:nvGrpSpPr>
        <p:grpSpPr>
          <a:xfrm>
            <a:off x="796903" y="4461023"/>
            <a:ext cx="7365416" cy="568361"/>
            <a:chOff x="809095" y="3586352"/>
            <a:chExt cx="7365416" cy="568361"/>
          </a:xfrm>
        </p:grpSpPr>
        <p:sp>
          <p:nvSpPr>
            <p:cNvPr id="27" name="ZoneTexte 11">
              <a:extLst>
                <a:ext uri="{FF2B5EF4-FFF2-40B4-BE49-F238E27FC236}">
                  <a16:creationId xmlns:a16="http://schemas.microsoft.com/office/drawing/2014/main" id="{06967ED7-970C-9BC7-E8BD-F7BA5814F475}"/>
                </a:ext>
              </a:extLst>
            </p:cNvPr>
            <p:cNvSpPr txBox="1"/>
            <p:nvPr/>
          </p:nvSpPr>
          <p:spPr>
            <a:xfrm>
              <a:off x="809095" y="3586352"/>
              <a:ext cx="6597397" cy="568361"/>
            </a:xfrm>
            <a:prstGeom prst="rect">
              <a:avLst/>
            </a:prstGeom>
          </p:spPr>
          <p:txBody>
            <a:bodyPr wrap="square" rtlCol="0">
              <a:spAutoFit/>
            </a:bodyPr>
            <a:lstStyle/>
            <a:p>
              <a:pPr algn="r" rtl="1">
                <a:lnSpc>
                  <a:spcPct val="150000"/>
                </a:lnSpc>
                <a:spcAft>
                  <a:spcPts val="600"/>
                </a:spcAft>
              </a:pPr>
              <a:r>
                <a:rPr lang="ar-MA" sz="2300" b="1" kern="0" dirty="0">
                  <a:solidFill>
                    <a:srgbClr val="2D376D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تفكيك الأعداد من 2 إلى 5.</a:t>
              </a:r>
            </a:p>
          </p:txBody>
        </p:sp>
        <p:sp>
          <p:nvSpPr>
            <p:cNvPr id="28" name="Oval 23">
              <a:extLst>
                <a:ext uri="{FF2B5EF4-FFF2-40B4-BE49-F238E27FC236}">
                  <a16:creationId xmlns:a16="http://schemas.microsoft.com/office/drawing/2014/main" id="{5490AC2D-02E6-1920-FE77-E5F13066E709}"/>
                </a:ext>
              </a:extLst>
            </p:cNvPr>
            <p:cNvSpPr/>
            <p:nvPr/>
          </p:nvSpPr>
          <p:spPr>
            <a:xfrm>
              <a:off x="7748852" y="3742031"/>
              <a:ext cx="361008" cy="349749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9" name="Oval 86">
              <a:extLst>
                <a:ext uri="{FF2B5EF4-FFF2-40B4-BE49-F238E27FC236}">
                  <a16:creationId xmlns:a16="http://schemas.microsoft.com/office/drawing/2014/main" id="{2C3A18CA-F00A-FD6E-96FE-17D8CF58D42E}"/>
                </a:ext>
              </a:extLst>
            </p:cNvPr>
            <p:cNvSpPr/>
            <p:nvPr/>
          </p:nvSpPr>
          <p:spPr>
            <a:xfrm flipH="1">
              <a:off x="7731967" y="3731341"/>
              <a:ext cx="387758" cy="376435"/>
            </a:xfrm>
            <a:prstGeom prst="ellipse">
              <a:avLst/>
            </a:prstGeom>
            <a:solidFill>
              <a:srgbClr val="005664"/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spcBef>
                  <a:spcPts val="0"/>
                </a:spcBef>
                <a:buClrTx/>
                <a:buSzTx/>
                <a:buFontTx/>
                <a:buNone/>
                <a:tabLst/>
                <a:defRPr/>
              </a:pPr>
              <a:endPara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endParaRPr>
            </a:p>
          </p:txBody>
        </p:sp>
        <p:pic>
          <p:nvPicPr>
            <p:cNvPr id="30" name="Graphique 25">
              <a:extLst>
                <a:ext uri="{FF2B5EF4-FFF2-40B4-BE49-F238E27FC236}">
                  <a16:creationId xmlns:a16="http://schemas.microsoft.com/office/drawing/2014/main" id="{28363DDF-F8C0-0DEA-157D-15F12EA82B78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7822415" y="3742031"/>
              <a:ext cx="352096" cy="272874"/>
            </a:xfrm>
            <a:prstGeom prst="rect">
              <a:avLst/>
            </a:prstGeom>
          </p:spPr>
        </p:pic>
      </p:grpSp>
      <p:pic>
        <p:nvPicPr>
          <p:cNvPr id="32" name="Image 31">
            <a:extLst>
              <a:ext uri="{FF2B5EF4-FFF2-40B4-BE49-F238E27FC236}">
                <a16:creationId xmlns:a16="http://schemas.microsoft.com/office/drawing/2014/main" id="{23B1B7A6-65FD-0721-1A6C-D8DD93BE499F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4643117" y="5733853"/>
            <a:ext cx="647571" cy="464092"/>
          </a:xfrm>
          <a:prstGeom prst="rect">
            <a:avLst/>
          </a:prstGeom>
        </p:spPr>
      </p:pic>
      <p:pic>
        <p:nvPicPr>
          <p:cNvPr id="34" name="Image 33">
            <a:extLst>
              <a:ext uri="{FF2B5EF4-FFF2-40B4-BE49-F238E27FC236}">
                <a16:creationId xmlns:a16="http://schemas.microsoft.com/office/drawing/2014/main" id="{A3203584-F91A-51D5-E1BA-83977B3E656B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3579455" y="5733853"/>
            <a:ext cx="634920" cy="514505"/>
          </a:xfrm>
          <a:prstGeom prst="rect">
            <a:avLst/>
          </a:prstGeom>
        </p:spPr>
      </p:pic>
      <p:pic>
        <p:nvPicPr>
          <p:cNvPr id="36" name="Image 35">
            <a:extLst>
              <a:ext uri="{FF2B5EF4-FFF2-40B4-BE49-F238E27FC236}">
                <a16:creationId xmlns:a16="http://schemas.microsoft.com/office/drawing/2014/main" id="{0210E19C-3E32-2CC5-1232-EDF1600D2268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2471655" y="5733853"/>
            <a:ext cx="679058" cy="4786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4713108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856E50A-0A92-B4C8-1221-317305D919E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2">
            <a:extLst>
              <a:ext uri="{FF2B5EF4-FFF2-40B4-BE49-F238E27FC236}">
                <a16:creationId xmlns:a16="http://schemas.microsoft.com/office/drawing/2014/main" id="{7AEAF39A-47AE-2859-CEC6-345BA54ED85B}"/>
              </a:ext>
            </a:extLst>
          </p:cNvPr>
          <p:cNvSpPr/>
          <p:nvPr/>
        </p:nvSpPr>
        <p:spPr>
          <a:xfrm>
            <a:off x="0" y="0"/>
            <a:ext cx="9144000" cy="6858000"/>
          </a:xfrm>
          <a:custGeom>
            <a:avLst/>
            <a:gdLst/>
            <a:ahLst/>
            <a:cxnLst/>
            <a:rect l="l" t="t" r="r" b="b"/>
            <a:pathLst>
              <a:path w="18288000" h="10287000">
                <a:moveTo>
                  <a:pt x="0" y="0"/>
                </a:moveTo>
                <a:lnTo>
                  <a:pt x="18288000" y="0"/>
                </a:lnTo>
                <a:lnTo>
                  <a:pt x="18288000" y="10287000"/>
                </a:lnTo>
                <a:lnTo>
                  <a:pt x="0" y="10287000"/>
                </a:lnTo>
                <a:lnTo>
                  <a:pt x="0" y="0"/>
                </a:lnTo>
                <a:close/>
              </a:path>
            </a:pathLst>
          </a:custGeom>
          <a:blipFill>
            <a:blip r:embed="rId2"/>
            <a:stretch>
              <a:fillRect t="-5555" b="-5555"/>
            </a:stretch>
          </a:blipFill>
        </p:spPr>
        <p:txBody>
          <a:bodyPr/>
          <a:lstStyle/>
          <a:p>
            <a:pPr defTabSz="609660">
              <a:defRPr/>
            </a:pPr>
            <a:endParaRPr lang="fr-MA" sz="900">
              <a:solidFill>
                <a:prstClr val="black"/>
              </a:solidFill>
              <a:latin typeface="Dosis" pitchFamily="2" charset="0"/>
            </a:endParaRPr>
          </a:p>
        </p:txBody>
      </p:sp>
      <p:sp>
        <p:nvSpPr>
          <p:cNvPr id="5" name="Ellipse 62">
            <a:extLst>
              <a:ext uri="{FF2B5EF4-FFF2-40B4-BE49-F238E27FC236}">
                <a16:creationId xmlns:a16="http://schemas.microsoft.com/office/drawing/2014/main" id="{6DBB46C9-7A1B-EBBC-8516-A4E7F6CA72E6}"/>
              </a:ext>
            </a:extLst>
          </p:cNvPr>
          <p:cNvSpPr/>
          <p:nvPr/>
        </p:nvSpPr>
        <p:spPr>
          <a:xfrm>
            <a:off x="1196648" y="46409"/>
            <a:ext cx="6811591" cy="6811591"/>
          </a:xfrm>
          <a:prstGeom prst="ellipse">
            <a:avLst/>
          </a:prstGeom>
          <a:solidFill>
            <a:srgbClr val="D6E9EA">
              <a:alpha val="34000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sp>
        <p:nvSpPr>
          <p:cNvPr id="6" name="TextBox 6">
            <a:extLst>
              <a:ext uri="{FF2B5EF4-FFF2-40B4-BE49-F238E27FC236}">
                <a16:creationId xmlns:a16="http://schemas.microsoft.com/office/drawing/2014/main" id="{2232CFA0-8C0A-A9A2-2ABE-0BD12D061C10}"/>
              </a:ext>
            </a:extLst>
          </p:cNvPr>
          <p:cNvSpPr txBox="1"/>
          <p:nvPr/>
        </p:nvSpPr>
        <p:spPr>
          <a:xfrm>
            <a:off x="1380413" y="2667001"/>
            <a:ext cx="6444063" cy="677943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 defTabSz="609660" rtl="1">
              <a:lnSpc>
                <a:spcPts val="5486"/>
              </a:lnSpc>
              <a:defRPr/>
            </a:pPr>
            <a:r>
              <a:rPr lang="ar-MA" sz="4400" b="1" dirty="0">
                <a:solidFill>
                  <a:srgbClr val="106585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1. افتتاح الحصة</a:t>
            </a:r>
          </a:p>
        </p:txBody>
      </p:sp>
      <p:sp>
        <p:nvSpPr>
          <p:cNvPr id="9" name="Freeform 9">
            <a:extLst>
              <a:ext uri="{FF2B5EF4-FFF2-40B4-BE49-F238E27FC236}">
                <a16:creationId xmlns:a16="http://schemas.microsoft.com/office/drawing/2014/main" id="{1103522D-1968-85DC-D0F1-DE74655BA9F4}"/>
              </a:ext>
            </a:extLst>
          </p:cNvPr>
          <p:cNvSpPr/>
          <p:nvPr/>
        </p:nvSpPr>
        <p:spPr>
          <a:xfrm>
            <a:off x="21422" y="5622104"/>
            <a:ext cx="995130" cy="1233596"/>
          </a:xfrm>
          <a:custGeom>
            <a:avLst/>
            <a:gdLst/>
            <a:ahLst/>
            <a:cxnLst/>
            <a:rect l="l" t="t" r="r" b="b"/>
            <a:pathLst>
              <a:path w="2684349" h="3327606">
                <a:moveTo>
                  <a:pt x="0" y="0"/>
                </a:moveTo>
                <a:lnTo>
                  <a:pt x="2684349" y="0"/>
                </a:lnTo>
                <a:lnTo>
                  <a:pt x="2684349" y="3327606"/>
                </a:lnTo>
                <a:lnTo>
                  <a:pt x="0" y="3327606"/>
                </a:lnTo>
                <a:lnTo>
                  <a:pt x="0" y="0"/>
                </a:lnTo>
                <a:close/>
              </a:path>
            </a:pathLst>
          </a:custGeo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 l="-157570" t="-6438" b="-44673"/>
            </a:stretch>
          </a:blipFill>
          <a:ln>
            <a:noFill/>
          </a:ln>
        </p:spPr>
        <p:txBody>
          <a:bodyPr/>
          <a:lstStyle/>
          <a:p>
            <a:pPr defTabSz="609660">
              <a:defRPr/>
            </a:pPr>
            <a:endParaRPr lang="fr-MA" sz="428">
              <a:solidFill>
                <a:prstClr val="black"/>
              </a:solidFill>
              <a:latin typeface="Dosis" pitchFamily="2" charset="0"/>
            </a:endParaRPr>
          </a:p>
        </p:txBody>
      </p:sp>
      <p:sp>
        <p:nvSpPr>
          <p:cNvPr id="10" name="Freeform 10">
            <a:extLst>
              <a:ext uri="{FF2B5EF4-FFF2-40B4-BE49-F238E27FC236}">
                <a16:creationId xmlns:a16="http://schemas.microsoft.com/office/drawing/2014/main" id="{D9DE8D10-2A73-DF56-A070-157E471B6D6A}"/>
              </a:ext>
            </a:extLst>
          </p:cNvPr>
          <p:cNvSpPr/>
          <p:nvPr/>
        </p:nvSpPr>
        <p:spPr>
          <a:xfrm>
            <a:off x="7804156" y="5463344"/>
            <a:ext cx="1318425" cy="1392356"/>
          </a:xfrm>
          <a:custGeom>
            <a:avLst/>
            <a:gdLst/>
            <a:ahLst/>
            <a:cxnLst/>
            <a:rect l="l" t="t" r="r" b="b"/>
            <a:pathLst>
              <a:path w="3556432" h="3755858">
                <a:moveTo>
                  <a:pt x="0" y="0"/>
                </a:moveTo>
                <a:lnTo>
                  <a:pt x="3556432" y="0"/>
                </a:lnTo>
                <a:lnTo>
                  <a:pt x="3556432" y="3755858"/>
                </a:lnTo>
                <a:lnTo>
                  <a:pt x="0" y="3755858"/>
                </a:lnTo>
                <a:lnTo>
                  <a:pt x="0" y="0"/>
                </a:lnTo>
                <a:close/>
              </a:path>
            </a:pathLst>
          </a:custGeo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 l="-4351" t="-332" r="-93446" b="-41558"/>
            </a:stretch>
          </a:blipFill>
        </p:spPr>
        <p:txBody>
          <a:bodyPr/>
          <a:lstStyle/>
          <a:p>
            <a:pPr defTabSz="609660">
              <a:defRPr/>
            </a:pPr>
            <a:endParaRPr lang="fr-MA" sz="428">
              <a:solidFill>
                <a:prstClr val="black"/>
              </a:solidFill>
              <a:latin typeface="Dosis" pitchFamily="2" charset="0"/>
            </a:endParaRPr>
          </a:p>
        </p:txBody>
      </p:sp>
      <p:sp>
        <p:nvSpPr>
          <p:cNvPr id="2" name="Google Shape;290;p9">
            <a:extLst>
              <a:ext uri="{FF2B5EF4-FFF2-40B4-BE49-F238E27FC236}">
                <a16:creationId xmlns:a16="http://schemas.microsoft.com/office/drawing/2014/main" id="{FD633BB9-ADE0-571E-4198-23E212CFA82F}"/>
              </a:ext>
            </a:extLst>
          </p:cNvPr>
          <p:cNvSpPr txBox="1"/>
          <p:nvPr/>
        </p:nvSpPr>
        <p:spPr>
          <a:xfrm>
            <a:off x="2036064" y="3429688"/>
            <a:ext cx="3742032" cy="46162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795AF"/>
              </a:buClr>
              <a:buSzPts val="4800"/>
              <a:buFont typeface="Dosis"/>
              <a:buNone/>
            </a:pPr>
            <a:r>
              <a:rPr lang="ar-MA" sz="2400" b="1" i="0" u="none" strike="noStrike" cap="none" dirty="0">
                <a:solidFill>
                  <a:srgbClr val="3795AF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Dosis"/>
              </a:rPr>
              <a:t>استثمار كراسة الحساب الذهني</a:t>
            </a:r>
            <a:endParaRPr sz="1000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4" name="Google Shape;291;p9">
            <a:extLst>
              <a:ext uri="{FF2B5EF4-FFF2-40B4-BE49-F238E27FC236}">
                <a16:creationId xmlns:a16="http://schemas.microsoft.com/office/drawing/2014/main" id="{52FE77C1-5A7F-E33C-5861-996FC5515D6B}"/>
              </a:ext>
            </a:extLst>
          </p:cNvPr>
          <p:cNvPicPr preferRelativeResize="0"/>
          <p:nvPr/>
        </p:nvPicPr>
        <p:blipFill rotWithShape="1">
          <a:blip r:embed="rId7">
            <a:alphaModFix/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ackgroundRemoval t="10000" b="90000" l="10000" r="90000"/>
                    </a14:imgEffect>
                  </a14:imgLayer>
                </a14:imgProps>
              </a:ext>
            </a:extLst>
          </a:blip>
          <a:srcRect/>
          <a:stretch/>
        </p:blipFill>
        <p:spPr>
          <a:xfrm flipH="1">
            <a:off x="5868144" y="3404153"/>
            <a:ext cx="789308" cy="440324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46125742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93C1171B-7DA8-2842-0EF5-E009E48F79A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 1">
            <a:extLst>
              <a:ext uri="{FF2B5EF4-FFF2-40B4-BE49-F238E27FC236}">
                <a16:creationId xmlns:a16="http://schemas.microsoft.com/office/drawing/2014/main" id="{9B4ED19B-9A36-9473-BE37-8EE916C90E0C}"/>
              </a:ext>
            </a:extLst>
          </p:cNvPr>
          <p:cNvPicPr/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5" name="ZoneTexte 4">
            <a:extLst>
              <a:ext uri="{FF2B5EF4-FFF2-40B4-BE49-F238E27FC236}">
                <a16:creationId xmlns:a16="http://schemas.microsoft.com/office/drawing/2014/main" id="{2FFE84DF-8EC2-7EF5-2C60-AA66924D2BFF}"/>
              </a:ext>
            </a:extLst>
          </p:cNvPr>
          <p:cNvSpPr txBox="1"/>
          <p:nvPr/>
        </p:nvSpPr>
        <p:spPr>
          <a:xfrm>
            <a:off x="668695" y="496262"/>
            <a:ext cx="7806610" cy="39215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 rtl="1">
              <a:lnSpc>
                <a:spcPct val="115000"/>
              </a:lnSpc>
              <a:spcAft>
                <a:spcPts val="800"/>
              </a:spcAft>
            </a:pPr>
            <a:r>
              <a:rPr lang="ar-MA" b="1" dirty="0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مرحبا أبنائي</a:t>
            </a:r>
            <a:r>
              <a:rPr lang="ar-SA" b="1" dirty="0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، </a:t>
            </a:r>
            <a:r>
              <a:rPr lang="ar-MA" b="1" dirty="0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سنبدأ درس اليوم</a:t>
            </a:r>
            <a:endParaRPr lang="fr-MA" b="1" dirty="0">
              <a:solidFill>
                <a:schemeClr val="bg1">
                  <a:lumMod val="65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6" name="Image 5">
            <a:extLst>
              <a:ext uri="{FF2B5EF4-FFF2-40B4-BE49-F238E27FC236}">
                <a16:creationId xmlns:a16="http://schemas.microsoft.com/office/drawing/2014/main" id="{DD8013B0-8EE1-1C3A-5FDF-ED9DA08EE226}"/>
              </a:ext>
            </a:extLst>
          </p:cNvPr>
          <p:cNvPicPr>
            <a:picLocks noChangeAspect="1"/>
          </p:cNvPicPr>
          <p:nvPr/>
        </p:nvPicPr>
        <p:blipFill>
          <a:blip r:embed="rId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2822824" y="2169000"/>
            <a:ext cx="3498353" cy="252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1152399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5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5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5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8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0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1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8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heme/theme1.xml><?xml version="1.0" encoding="utf-8"?>
<a:theme xmlns:a="http://schemas.openxmlformats.org/drawingml/2006/main" name="Office 2013 - 2022 Theme">
  <a:themeElements>
    <a:clrScheme name="Office 2013 - 2022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2013 - 2022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2013 - 2022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2013 - 2022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971</TotalTime>
  <Words>838</Words>
  <Application>Microsoft Office PowerPoint</Application>
  <PresentationFormat>Affichage à l'écran (4:3)</PresentationFormat>
  <Paragraphs>186</Paragraphs>
  <Slides>50</Slides>
  <Notes>2</Notes>
  <HiddenSlides>0</HiddenSlides>
  <MMClips>0</MMClips>
  <ScaleCrop>false</ScaleCrop>
  <HeadingPairs>
    <vt:vector size="8" baseType="variant">
      <vt:variant>
        <vt:lpstr>Polices utilisées</vt:lpstr>
      </vt:variant>
      <vt:variant>
        <vt:i4>9</vt:i4>
      </vt:variant>
      <vt:variant>
        <vt:lpstr>Thème</vt:lpstr>
      </vt:variant>
      <vt:variant>
        <vt:i4>1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50</vt:i4>
      </vt:variant>
    </vt:vector>
  </HeadingPairs>
  <TitlesOfParts>
    <vt:vector size="61" baseType="lpstr">
      <vt:lpstr>Microsoft Uighur</vt:lpstr>
      <vt:lpstr>Aptos</vt:lpstr>
      <vt:lpstr>A Massir Ballpoint</vt:lpstr>
      <vt:lpstr>Air Strip Arabic</vt:lpstr>
      <vt:lpstr>Calibri Light</vt:lpstr>
      <vt:lpstr>Cambria</vt:lpstr>
      <vt:lpstr>Dosis</vt:lpstr>
      <vt:lpstr>Calibri</vt:lpstr>
      <vt:lpstr>Arial</vt:lpstr>
      <vt:lpstr>Office 2013 - 2022 Theme</vt:lpstr>
      <vt:lpstr>think-cell Slide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Mohamed Ibissi</dc:creator>
  <cp:lastModifiedBy>Mohamed Ibissi</cp:lastModifiedBy>
  <cp:revision>5</cp:revision>
  <dcterms:created xsi:type="dcterms:W3CDTF">2024-11-06T21:41:27Z</dcterms:created>
  <dcterms:modified xsi:type="dcterms:W3CDTF">2024-11-12T21:04:58Z</dcterms:modified>
</cp:coreProperties>
</file>